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ppt/tags/tag8.xml" ContentType="application/vnd.openxmlformats-officedocument.presentationml.tags+xml"/>
  <Override PartName="/ppt/notesSlides/notesSlide5.xml" ContentType="application/vnd.openxmlformats-officedocument.presentationml.notesSlide+xml"/>
  <Override PartName="/ppt/tags/tag9.xml" ContentType="application/vnd.openxmlformats-officedocument.presentationml.tags+xml"/>
  <Override PartName="/ppt/notesSlides/notesSlide6.xml" ContentType="application/vnd.openxmlformats-officedocument.presentationml.notesSlide+xml"/>
  <Override PartName="/ppt/tags/tag10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4"/>
    <p:sldMasterId id="2147483680" r:id="rId5"/>
    <p:sldMasterId id="2147483693" r:id="rId6"/>
  </p:sldMasterIdLst>
  <p:notesMasterIdLst>
    <p:notesMasterId r:id="rId18"/>
  </p:notesMasterIdLst>
  <p:sldIdLst>
    <p:sldId id="256" r:id="rId7"/>
    <p:sldId id="2147474458" r:id="rId8"/>
    <p:sldId id="2147474671" r:id="rId9"/>
    <p:sldId id="2147474682" r:id="rId10"/>
    <p:sldId id="2147474673" r:id="rId11"/>
    <p:sldId id="2147474683" r:id="rId12"/>
    <p:sldId id="2147474684" r:id="rId13"/>
    <p:sldId id="2147474677" r:id="rId14"/>
    <p:sldId id="2147474674" r:id="rId15"/>
    <p:sldId id="2147474675" r:id="rId16"/>
    <p:sldId id="2147474681" r:id="rId1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3DEC431-49A1-FA36-3158-3BE1BAD22140}" name="LaMonte McGraw" initials="LM" userId="S::lamontev@uw.edu::2d4e354e-12fa-4ed4-950b-4f23ee06fce2" providerId="AD"/>
  <p188:author id="{CBDF7FA7-1BAF-D5F1-1F4D-3A27451A694B}" name="Jay Dahlstrom" initials="JD" userId="S::jamesd26@uw.edu::3245e832-0f25-4f37-aab2-3017b0300553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2006E"/>
    <a:srgbClr val="DDD9C3"/>
    <a:srgbClr val="CCC1DA"/>
    <a:srgbClr val="E6E0EC"/>
    <a:srgbClr val="D7E4BD"/>
    <a:srgbClr val="F2F2F2"/>
    <a:srgbClr val="D9D9D9"/>
    <a:srgbClr val="B3A2C7"/>
    <a:srgbClr val="4B2E83"/>
    <a:srgbClr val="FFFF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  <p:ext uri="{1BD7E111-0CB8-44D6-8891-C1BB2F81B7CC}">
      <p1710:readonlyRecommended xmlns:p1710="http://schemas.microsoft.com/office/powerpoint/2017/10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CF5CCBF-2990-4042-AE22-80E818A11B5F}" v="5" dt="2026-03-11T22:53:50.24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97" d="100"/>
          <a:sy n="97" d="100"/>
        </p:scale>
        <p:origin x="792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microsoft.com/office/2016/11/relationships/changesInfo" Target="changesInfos/changesInfo1.xml"/><Relationship Id="rId10" Type="http://schemas.openxmlformats.org/officeDocument/2006/relationships/slide" Target="slides/slide4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aniela Choto" userId="c67ca039-e970-479c-a906-a34349937577" providerId="ADAL" clId="{EDBE599F-B500-46C8-B8D4-4286E381391F}"/>
    <pc:docChg chg="undo custSel modSld">
      <pc:chgData name="Daniela Choto" userId="c67ca039-e970-479c-a906-a34349937577" providerId="ADAL" clId="{EDBE599F-B500-46C8-B8D4-4286E381391F}" dt="2026-03-31T16:42:43.360" v="157" actId="962"/>
      <pc:docMkLst>
        <pc:docMk/>
      </pc:docMkLst>
      <pc:sldChg chg="modSp mod">
        <pc:chgData name="Daniela Choto" userId="c67ca039-e970-479c-a906-a34349937577" providerId="ADAL" clId="{EDBE599F-B500-46C8-B8D4-4286E381391F}" dt="2026-03-11T22:20:28.866" v="1" actId="962"/>
        <pc:sldMkLst>
          <pc:docMk/>
          <pc:sldMk cId="2500770122" sldId="256"/>
        </pc:sldMkLst>
        <pc:spChg chg="mod">
          <ac:chgData name="Daniela Choto" userId="c67ca039-e970-479c-a906-a34349937577" providerId="ADAL" clId="{EDBE599F-B500-46C8-B8D4-4286E381391F}" dt="2026-03-11T22:20:22.415" v="0" actId="962"/>
          <ac:spMkLst>
            <pc:docMk/>
            <pc:sldMk cId="2500770122" sldId="256"/>
            <ac:spMk id="4" creationId="{F7DDDB11-87D2-03B0-EE5A-5ADAAF53EA7F}"/>
          </ac:spMkLst>
        </pc:spChg>
        <pc:picChg chg="mod">
          <ac:chgData name="Daniela Choto" userId="c67ca039-e970-479c-a906-a34349937577" providerId="ADAL" clId="{EDBE599F-B500-46C8-B8D4-4286E381391F}" dt="2026-03-11T22:20:28.866" v="1" actId="962"/>
          <ac:picMkLst>
            <pc:docMk/>
            <pc:sldMk cId="2500770122" sldId="256"/>
            <ac:picMk id="15" creationId="{A8FBB52E-D532-CDF8-D0C1-A01BECF3B4BA}"/>
          </ac:picMkLst>
        </pc:picChg>
      </pc:sldChg>
      <pc:sldChg chg="modSp mod">
        <pc:chgData name="Daniela Choto" userId="c67ca039-e970-479c-a906-a34349937577" providerId="ADAL" clId="{EDBE599F-B500-46C8-B8D4-4286E381391F}" dt="2026-03-11T22:28:05.712" v="8" actId="962"/>
        <pc:sldMkLst>
          <pc:docMk/>
          <pc:sldMk cId="2409876095" sldId="2147474458"/>
        </pc:sldMkLst>
        <pc:spChg chg="mod ord">
          <ac:chgData name="Daniela Choto" userId="c67ca039-e970-479c-a906-a34349937577" providerId="ADAL" clId="{EDBE599F-B500-46C8-B8D4-4286E381391F}" dt="2026-03-11T22:27:22.010" v="5"/>
          <ac:spMkLst>
            <pc:docMk/>
            <pc:sldMk cId="2409876095" sldId="2147474458"/>
            <ac:spMk id="3" creationId="{8DA9B9D5-E333-9C97-277D-B18B513E882F}"/>
          </ac:spMkLst>
        </pc:spChg>
        <pc:spChg chg="ord">
          <ac:chgData name="Daniela Choto" userId="c67ca039-e970-479c-a906-a34349937577" providerId="ADAL" clId="{EDBE599F-B500-46C8-B8D4-4286E381391F}" dt="2026-03-11T22:27:17.776" v="3"/>
          <ac:spMkLst>
            <pc:docMk/>
            <pc:sldMk cId="2409876095" sldId="2147474458"/>
            <ac:spMk id="4" creationId="{9C6F18F3-1010-A807-82AD-348CF33C9520}"/>
          </ac:spMkLst>
        </pc:spChg>
        <pc:spChg chg="ord">
          <ac:chgData name="Daniela Choto" userId="c67ca039-e970-479c-a906-a34349937577" providerId="ADAL" clId="{EDBE599F-B500-46C8-B8D4-4286E381391F}" dt="2026-03-11T22:27:26.489" v="6"/>
          <ac:spMkLst>
            <pc:docMk/>
            <pc:sldMk cId="2409876095" sldId="2147474458"/>
            <ac:spMk id="7" creationId="{6095B6CD-BA5E-C3A9-651E-778DF98A2F71}"/>
          </ac:spMkLst>
        </pc:spChg>
        <pc:picChg chg="mod">
          <ac:chgData name="Daniela Choto" userId="c67ca039-e970-479c-a906-a34349937577" providerId="ADAL" clId="{EDBE599F-B500-46C8-B8D4-4286E381391F}" dt="2026-03-11T22:28:05.712" v="8" actId="962"/>
          <ac:picMkLst>
            <pc:docMk/>
            <pc:sldMk cId="2409876095" sldId="2147474458"/>
            <ac:picMk id="2" creationId="{FF39F28E-EF24-9CA5-0AA7-4A8D95A3F5F4}"/>
          </ac:picMkLst>
        </pc:picChg>
      </pc:sldChg>
      <pc:sldChg chg="delSp modSp mod delAnim">
        <pc:chgData name="Daniela Choto" userId="c67ca039-e970-479c-a906-a34349937577" providerId="ADAL" clId="{EDBE599F-B500-46C8-B8D4-4286E381391F}" dt="2026-03-11T22:30:19.824" v="41"/>
        <pc:sldMkLst>
          <pc:docMk/>
          <pc:sldMk cId="3193318864" sldId="2147474671"/>
        </pc:sldMkLst>
        <pc:spChg chg="mod">
          <ac:chgData name="Daniela Choto" userId="c67ca039-e970-479c-a906-a34349937577" providerId="ADAL" clId="{EDBE599F-B500-46C8-B8D4-4286E381391F}" dt="2026-03-11T22:29:36.955" v="29" actId="962"/>
          <ac:spMkLst>
            <pc:docMk/>
            <pc:sldMk cId="3193318864" sldId="2147474671"/>
            <ac:spMk id="3" creationId="{1A6F6119-F0C9-B820-3A82-B317B4D2C446}"/>
          </ac:spMkLst>
        </pc:spChg>
        <pc:spChg chg="ord">
          <ac:chgData name="Daniela Choto" userId="c67ca039-e970-479c-a906-a34349937577" providerId="ADAL" clId="{EDBE599F-B500-46C8-B8D4-4286E381391F}" dt="2026-03-11T22:30:09.982" v="36"/>
          <ac:spMkLst>
            <pc:docMk/>
            <pc:sldMk cId="3193318864" sldId="2147474671"/>
            <ac:spMk id="4" creationId="{D7786309-DA26-DC37-2DB5-7522BA6CAA57}"/>
          </ac:spMkLst>
        </pc:spChg>
        <pc:spChg chg="ord">
          <ac:chgData name="Daniela Choto" userId="c67ca039-e970-479c-a906-a34349937577" providerId="ADAL" clId="{EDBE599F-B500-46C8-B8D4-4286E381391F}" dt="2026-03-11T22:30:07.244" v="33"/>
          <ac:spMkLst>
            <pc:docMk/>
            <pc:sldMk cId="3193318864" sldId="2147474671"/>
            <ac:spMk id="43" creationId="{0B2043F2-94CC-F096-3494-100575D79555}"/>
          </ac:spMkLst>
        </pc:spChg>
        <pc:spChg chg="mod ord">
          <ac:chgData name="Daniela Choto" userId="c67ca039-e970-479c-a906-a34349937577" providerId="ADAL" clId="{EDBE599F-B500-46C8-B8D4-4286E381391F}" dt="2026-03-11T22:28:25.088" v="23"/>
          <ac:spMkLst>
            <pc:docMk/>
            <pc:sldMk cId="3193318864" sldId="2147474671"/>
            <ac:spMk id="73" creationId="{74AAE0EC-4A8D-1BE8-EF17-B1E12B0330B4}"/>
          </ac:spMkLst>
        </pc:spChg>
        <pc:graphicFrameChg chg="ord">
          <ac:chgData name="Daniela Choto" userId="c67ca039-e970-479c-a906-a34349937577" providerId="ADAL" clId="{EDBE599F-B500-46C8-B8D4-4286E381391F}" dt="2026-03-11T22:30:19.824" v="41"/>
          <ac:graphicFrameMkLst>
            <pc:docMk/>
            <pc:sldMk cId="3193318864" sldId="2147474671"/>
            <ac:graphicFrameMk id="7" creationId="{E258384C-9E08-C724-8267-CA1FE2918616}"/>
          </ac:graphicFrameMkLst>
        </pc:graphicFrameChg>
        <pc:graphicFrameChg chg="mod modVis">
          <ac:chgData name="Daniela Choto" userId="c67ca039-e970-479c-a906-a34349937577" providerId="ADAL" clId="{EDBE599F-B500-46C8-B8D4-4286E381391F}" dt="2026-03-11T22:30:15.662" v="37" actId="962"/>
          <ac:graphicFrameMkLst>
            <pc:docMk/>
            <pc:sldMk cId="3193318864" sldId="2147474671"/>
            <ac:graphicFrameMk id="110" creationId="{87E5B16C-0F21-62E3-5517-6C1A5C62B107}"/>
          </ac:graphicFrameMkLst>
        </pc:graphicFrameChg>
      </pc:sldChg>
      <pc:sldChg chg="modSp mod">
        <pc:chgData name="Daniela Choto" userId="c67ca039-e970-479c-a906-a34349937577" providerId="ADAL" clId="{EDBE599F-B500-46C8-B8D4-4286E381391F}" dt="2026-03-11T22:43:13.193" v="64" actId="962"/>
        <pc:sldMkLst>
          <pc:docMk/>
          <pc:sldMk cId="2195560290" sldId="2147474673"/>
        </pc:sldMkLst>
        <pc:spChg chg="mod">
          <ac:chgData name="Daniela Choto" userId="c67ca039-e970-479c-a906-a34349937577" providerId="ADAL" clId="{EDBE599F-B500-46C8-B8D4-4286E381391F}" dt="2026-03-11T22:41:02.941" v="59" actId="962"/>
          <ac:spMkLst>
            <pc:docMk/>
            <pc:sldMk cId="2195560290" sldId="2147474673"/>
            <ac:spMk id="3" creationId="{BE63A69F-4136-7078-DBCD-0E361749598A}"/>
          </ac:spMkLst>
        </pc:spChg>
        <pc:spChg chg="mod">
          <ac:chgData name="Daniela Choto" userId="c67ca039-e970-479c-a906-a34349937577" providerId="ADAL" clId="{EDBE599F-B500-46C8-B8D4-4286E381391F}" dt="2026-03-11T22:43:11.960" v="62" actId="962"/>
          <ac:spMkLst>
            <pc:docMk/>
            <pc:sldMk cId="2195560290" sldId="2147474673"/>
            <ac:spMk id="8" creationId="{E14B0EE1-7C03-8871-2ECE-FDE0950F18E4}"/>
          </ac:spMkLst>
        </pc:spChg>
        <pc:spChg chg="mod">
          <ac:chgData name="Daniela Choto" userId="c67ca039-e970-479c-a906-a34349937577" providerId="ADAL" clId="{EDBE599F-B500-46C8-B8D4-4286E381391F}" dt="2026-03-11T22:43:12.677" v="63" actId="962"/>
          <ac:spMkLst>
            <pc:docMk/>
            <pc:sldMk cId="2195560290" sldId="2147474673"/>
            <ac:spMk id="9" creationId="{A0E6D521-5C15-6240-5834-230C79C9CD7F}"/>
          </ac:spMkLst>
        </pc:spChg>
        <pc:spChg chg="mod">
          <ac:chgData name="Daniela Choto" userId="c67ca039-e970-479c-a906-a34349937577" providerId="ADAL" clId="{EDBE599F-B500-46C8-B8D4-4286E381391F}" dt="2026-03-11T22:43:13.193" v="64" actId="962"/>
          <ac:spMkLst>
            <pc:docMk/>
            <pc:sldMk cId="2195560290" sldId="2147474673"/>
            <ac:spMk id="10" creationId="{3FC8D01A-E8C4-F957-8D07-AA30C264E5E4}"/>
          </ac:spMkLst>
        </pc:spChg>
        <pc:spChg chg="ord">
          <ac:chgData name="Daniela Choto" userId="c67ca039-e970-479c-a906-a34349937577" providerId="ADAL" clId="{EDBE599F-B500-46C8-B8D4-4286E381391F}" dt="2026-03-11T22:40:57.883" v="56"/>
          <ac:spMkLst>
            <pc:docMk/>
            <pc:sldMk cId="2195560290" sldId="2147474673"/>
            <ac:spMk id="43" creationId="{D2531B44-5987-99AF-5A83-F77F127A951D}"/>
          </ac:spMkLst>
        </pc:spChg>
        <pc:graphicFrameChg chg="mod modVis">
          <ac:chgData name="Daniela Choto" userId="c67ca039-e970-479c-a906-a34349937577" providerId="ADAL" clId="{EDBE599F-B500-46C8-B8D4-4286E381391F}" dt="2026-03-11T22:41:00.896" v="58" actId="962"/>
          <ac:graphicFrameMkLst>
            <pc:docMk/>
            <pc:sldMk cId="2195560290" sldId="2147474673"/>
            <ac:graphicFrameMk id="110" creationId="{30DFED07-0E65-54DE-1099-621139DF30DB}"/>
          </ac:graphicFrameMkLst>
        </pc:graphicFrameChg>
        <pc:picChg chg="mod">
          <ac:chgData name="Daniela Choto" userId="c67ca039-e970-479c-a906-a34349937577" providerId="ADAL" clId="{EDBE599F-B500-46C8-B8D4-4286E381391F}" dt="2026-03-11T22:43:08.793" v="61" actId="962"/>
          <ac:picMkLst>
            <pc:docMk/>
            <pc:sldMk cId="2195560290" sldId="2147474673"/>
            <ac:picMk id="6" creationId="{56621982-333A-CE0D-CADF-243186F6EDE3}"/>
          </ac:picMkLst>
        </pc:picChg>
      </pc:sldChg>
      <pc:sldChg chg="modSp mod">
        <pc:chgData name="Daniela Choto" userId="c67ca039-e970-479c-a906-a34349937577" providerId="ADAL" clId="{EDBE599F-B500-46C8-B8D4-4286E381391F}" dt="2026-03-17T22:01:28.569" v="103" actId="962"/>
        <pc:sldMkLst>
          <pc:docMk/>
          <pc:sldMk cId="3296098893" sldId="2147474674"/>
        </pc:sldMkLst>
        <pc:spChg chg="ord">
          <ac:chgData name="Daniela Choto" userId="c67ca039-e970-479c-a906-a34349937577" providerId="ADAL" clId="{EDBE599F-B500-46C8-B8D4-4286E381391F}" dt="2026-03-17T22:01:00.272" v="99" actId="13244"/>
          <ac:spMkLst>
            <pc:docMk/>
            <pc:sldMk cId="3296098893" sldId="2147474674"/>
            <ac:spMk id="2" creationId="{8519A955-00E1-CF52-3A6C-7B04D9147643}"/>
          </ac:spMkLst>
        </pc:spChg>
        <pc:spChg chg="mod">
          <ac:chgData name="Daniela Choto" userId="c67ca039-e970-479c-a906-a34349937577" providerId="ADAL" clId="{EDBE599F-B500-46C8-B8D4-4286E381391F}" dt="2026-03-17T22:00:42.576" v="97" actId="962"/>
          <ac:spMkLst>
            <pc:docMk/>
            <pc:sldMk cId="3296098893" sldId="2147474674"/>
            <ac:spMk id="3" creationId="{D7E94BDC-19EA-3CCE-6CEE-B07AD63401E0}"/>
          </ac:spMkLst>
        </pc:spChg>
        <pc:spChg chg="mod">
          <ac:chgData name="Daniela Choto" userId="c67ca039-e970-479c-a906-a34349937577" providerId="ADAL" clId="{EDBE599F-B500-46C8-B8D4-4286E381391F}" dt="2026-03-17T22:01:28.569" v="103" actId="962"/>
          <ac:spMkLst>
            <pc:docMk/>
            <pc:sldMk cId="3296098893" sldId="2147474674"/>
            <ac:spMk id="6" creationId="{C2721BB7-66CC-B7EE-ADD0-0022FEF6136D}"/>
          </ac:spMkLst>
        </pc:spChg>
        <pc:spChg chg="mod">
          <ac:chgData name="Daniela Choto" userId="c67ca039-e970-479c-a906-a34349937577" providerId="ADAL" clId="{EDBE599F-B500-46C8-B8D4-4286E381391F}" dt="2026-03-17T22:01:27.934" v="102" actId="962"/>
          <ac:spMkLst>
            <pc:docMk/>
            <pc:sldMk cId="3296098893" sldId="2147474674"/>
            <ac:spMk id="8" creationId="{C14D3FD0-61F6-C74F-A4DF-6E658915B25B}"/>
          </ac:spMkLst>
        </pc:spChg>
        <pc:spChg chg="mod">
          <ac:chgData name="Daniela Choto" userId="c67ca039-e970-479c-a906-a34349937577" providerId="ADAL" clId="{EDBE599F-B500-46C8-B8D4-4286E381391F}" dt="2026-03-17T22:01:24.760" v="100" actId="962"/>
          <ac:spMkLst>
            <pc:docMk/>
            <pc:sldMk cId="3296098893" sldId="2147474674"/>
            <ac:spMk id="9" creationId="{C901B5E5-9BC2-B386-305B-036DFB0F65FA}"/>
          </ac:spMkLst>
        </pc:spChg>
        <pc:spChg chg="mod">
          <ac:chgData name="Daniela Choto" userId="c67ca039-e970-479c-a906-a34349937577" providerId="ADAL" clId="{EDBE599F-B500-46C8-B8D4-4286E381391F}" dt="2026-03-17T22:01:25.308" v="101" actId="962"/>
          <ac:spMkLst>
            <pc:docMk/>
            <pc:sldMk cId="3296098893" sldId="2147474674"/>
            <ac:spMk id="11" creationId="{6579BE2F-03D2-1370-6D26-2FE3F8F7542A}"/>
          </ac:spMkLst>
        </pc:spChg>
        <pc:spChg chg="ord">
          <ac:chgData name="Daniela Choto" userId="c67ca039-e970-479c-a906-a34349937577" providerId="ADAL" clId="{EDBE599F-B500-46C8-B8D4-4286E381391F}" dt="2026-03-17T22:00:54.865" v="98" actId="13244"/>
          <ac:spMkLst>
            <pc:docMk/>
            <pc:sldMk cId="3296098893" sldId="2147474674"/>
            <ac:spMk id="19" creationId="{25DFD9C5-B2E3-6315-99B8-C5470FE91CB7}"/>
          </ac:spMkLst>
        </pc:spChg>
      </pc:sldChg>
      <pc:sldChg chg="modSp mod">
        <pc:chgData name="Daniela Choto" userId="c67ca039-e970-479c-a906-a34349937577" providerId="ADAL" clId="{EDBE599F-B500-46C8-B8D4-4286E381391F}" dt="2026-03-31T16:42:43.360" v="157" actId="962"/>
        <pc:sldMkLst>
          <pc:docMk/>
          <pc:sldMk cId="245690929" sldId="2147474675"/>
        </pc:sldMkLst>
        <pc:spChg chg="mod">
          <ac:chgData name="Daniela Choto" userId="c67ca039-e970-479c-a906-a34349937577" providerId="ADAL" clId="{EDBE599F-B500-46C8-B8D4-4286E381391F}" dt="2026-03-31T16:40:05.961" v="111" actId="962"/>
          <ac:spMkLst>
            <pc:docMk/>
            <pc:sldMk cId="245690929" sldId="2147474675"/>
            <ac:spMk id="2" creationId="{9CD1820C-52C5-3ED8-C00F-D6C537E184F5}"/>
          </ac:spMkLst>
        </pc:spChg>
        <pc:spChg chg="mod">
          <ac:chgData name="Daniela Choto" userId="c67ca039-e970-479c-a906-a34349937577" providerId="ADAL" clId="{EDBE599F-B500-46C8-B8D4-4286E381391F}" dt="2026-03-31T16:41:09.611" v="119" actId="962"/>
          <ac:spMkLst>
            <pc:docMk/>
            <pc:sldMk cId="245690929" sldId="2147474675"/>
            <ac:spMk id="3" creationId="{A478F11C-5619-A863-7C02-F63A37048EA6}"/>
          </ac:spMkLst>
        </pc:spChg>
        <pc:spChg chg="mod">
          <ac:chgData name="Daniela Choto" userId="c67ca039-e970-479c-a906-a34349937577" providerId="ADAL" clId="{EDBE599F-B500-46C8-B8D4-4286E381391F}" dt="2026-03-31T16:40:00.941" v="110" actId="962"/>
          <ac:spMkLst>
            <pc:docMk/>
            <pc:sldMk cId="245690929" sldId="2147474675"/>
            <ac:spMk id="10" creationId="{7CEDA04A-9BD3-A219-D139-744D2ADEBABD}"/>
          </ac:spMkLst>
        </pc:spChg>
        <pc:spChg chg="mod">
          <ac:chgData name="Daniela Choto" userId="c67ca039-e970-479c-a906-a34349937577" providerId="ADAL" clId="{EDBE599F-B500-46C8-B8D4-4286E381391F}" dt="2026-03-31T16:40:49.591" v="116" actId="962"/>
          <ac:spMkLst>
            <pc:docMk/>
            <pc:sldMk cId="245690929" sldId="2147474675"/>
            <ac:spMk id="11" creationId="{16C4EA18-FB97-54BF-42D1-AABFA2214D92}"/>
          </ac:spMkLst>
        </pc:spChg>
        <pc:spChg chg="mod">
          <ac:chgData name="Daniela Choto" userId="c67ca039-e970-479c-a906-a34349937577" providerId="ADAL" clId="{EDBE599F-B500-46C8-B8D4-4286E381391F}" dt="2026-03-31T16:39:56.525" v="109" actId="962"/>
          <ac:spMkLst>
            <pc:docMk/>
            <pc:sldMk cId="245690929" sldId="2147474675"/>
            <ac:spMk id="14" creationId="{ACFB299F-6EC7-94E8-A93C-CB0B9B13C87F}"/>
          </ac:spMkLst>
        </pc:spChg>
        <pc:spChg chg="mod">
          <ac:chgData name="Daniela Choto" userId="c67ca039-e970-479c-a906-a34349937577" providerId="ADAL" clId="{EDBE599F-B500-46C8-B8D4-4286E381391F}" dt="2026-03-31T16:42:25.565" v="153" actId="962"/>
          <ac:spMkLst>
            <pc:docMk/>
            <pc:sldMk cId="245690929" sldId="2147474675"/>
            <ac:spMk id="18" creationId="{0AA894C2-9B2C-9CCB-E70B-EDBC83DB986E}"/>
          </ac:spMkLst>
        </pc:spChg>
        <pc:spChg chg="mod">
          <ac:chgData name="Daniela Choto" userId="c67ca039-e970-479c-a906-a34349937577" providerId="ADAL" clId="{EDBE599F-B500-46C8-B8D4-4286E381391F}" dt="2026-03-31T16:42:34.120" v="154" actId="962"/>
          <ac:spMkLst>
            <pc:docMk/>
            <pc:sldMk cId="245690929" sldId="2147474675"/>
            <ac:spMk id="23" creationId="{6FBB9F60-82E7-97D5-BBE4-2AF411B35729}"/>
          </ac:spMkLst>
        </pc:spChg>
        <pc:spChg chg="mod">
          <ac:chgData name="Daniela Choto" userId="c67ca039-e970-479c-a906-a34349937577" providerId="ADAL" clId="{EDBE599F-B500-46C8-B8D4-4286E381391F}" dt="2026-03-31T16:41:15.149" v="120" actId="962"/>
          <ac:spMkLst>
            <pc:docMk/>
            <pc:sldMk cId="245690929" sldId="2147474675"/>
            <ac:spMk id="25" creationId="{5BCB2F5B-BAB5-929F-E75D-60151DB7945B}"/>
          </ac:spMkLst>
        </pc:spChg>
        <pc:spChg chg="mod">
          <ac:chgData name="Daniela Choto" userId="c67ca039-e970-479c-a906-a34349937577" providerId="ADAL" clId="{EDBE599F-B500-46C8-B8D4-4286E381391F}" dt="2026-03-31T16:41:18.284" v="121" actId="962"/>
          <ac:spMkLst>
            <pc:docMk/>
            <pc:sldMk cId="245690929" sldId="2147474675"/>
            <ac:spMk id="26" creationId="{FD109EBB-C8A6-95A9-C026-F933C28E2715}"/>
          </ac:spMkLst>
        </pc:spChg>
        <pc:spChg chg="mod">
          <ac:chgData name="Daniela Choto" userId="c67ca039-e970-479c-a906-a34349937577" providerId="ADAL" clId="{EDBE599F-B500-46C8-B8D4-4286E381391F}" dt="2026-03-31T16:42:01.364" v="141" actId="962"/>
          <ac:spMkLst>
            <pc:docMk/>
            <pc:sldMk cId="245690929" sldId="2147474675"/>
            <ac:spMk id="28" creationId="{C70582BA-EE73-5F5C-5FB1-CA321B91BD98}"/>
          </ac:spMkLst>
        </pc:spChg>
        <pc:spChg chg="mod">
          <ac:chgData name="Daniela Choto" userId="c67ca039-e970-479c-a906-a34349937577" providerId="ADAL" clId="{EDBE599F-B500-46C8-B8D4-4286E381391F}" dt="2026-03-31T16:41:33.680" v="123" actId="962"/>
          <ac:spMkLst>
            <pc:docMk/>
            <pc:sldMk cId="245690929" sldId="2147474675"/>
            <ac:spMk id="30" creationId="{DE75AE2E-9F24-0079-DC02-65A7FCF316E8}"/>
          </ac:spMkLst>
        </pc:spChg>
        <pc:spChg chg="mod">
          <ac:chgData name="Daniela Choto" userId="c67ca039-e970-479c-a906-a34349937577" providerId="ADAL" clId="{EDBE599F-B500-46C8-B8D4-4286E381391F}" dt="2026-03-31T16:42:40.310" v="156" actId="962"/>
          <ac:spMkLst>
            <pc:docMk/>
            <pc:sldMk cId="245690929" sldId="2147474675"/>
            <ac:spMk id="31" creationId="{BBF2432E-9570-2920-21B4-09A181161E4C}"/>
          </ac:spMkLst>
        </pc:spChg>
        <pc:spChg chg="mod">
          <ac:chgData name="Daniela Choto" userId="c67ca039-e970-479c-a906-a34349937577" providerId="ADAL" clId="{EDBE599F-B500-46C8-B8D4-4286E381391F}" dt="2026-03-31T16:39:53.044" v="108" actId="962"/>
          <ac:spMkLst>
            <pc:docMk/>
            <pc:sldMk cId="245690929" sldId="2147474675"/>
            <ac:spMk id="34" creationId="{FE2112A3-06E7-E2DE-E66C-156AED7459D1}"/>
          </ac:spMkLst>
        </pc:spChg>
        <pc:spChg chg="mod">
          <ac:chgData name="Daniela Choto" userId="c67ca039-e970-479c-a906-a34349937577" providerId="ADAL" clId="{EDBE599F-B500-46C8-B8D4-4286E381391F}" dt="2026-03-31T16:41:37.260" v="126" actId="962"/>
          <ac:spMkLst>
            <pc:docMk/>
            <pc:sldMk cId="245690929" sldId="2147474675"/>
            <ac:spMk id="46" creationId="{5D34BBFE-3C9C-AEC6-E268-9FDB04E52DF7}"/>
          </ac:spMkLst>
        </pc:spChg>
        <pc:spChg chg="mod">
          <ac:chgData name="Daniela Choto" userId="c67ca039-e970-479c-a906-a34349937577" providerId="ADAL" clId="{EDBE599F-B500-46C8-B8D4-4286E381391F}" dt="2026-03-31T16:41:38.508" v="127" actId="962"/>
          <ac:spMkLst>
            <pc:docMk/>
            <pc:sldMk cId="245690929" sldId="2147474675"/>
            <ac:spMk id="47" creationId="{E148F5CE-B596-683C-8333-D4D32A3337C0}"/>
          </ac:spMkLst>
        </pc:spChg>
        <pc:spChg chg="mod">
          <ac:chgData name="Daniela Choto" userId="c67ca039-e970-479c-a906-a34349937577" providerId="ADAL" clId="{EDBE599F-B500-46C8-B8D4-4286E381391F}" dt="2026-03-31T16:41:44.224" v="130" actId="962"/>
          <ac:spMkLst>
            <pc:docMk/>
            <pc:sldMk cId="245690929" sldId="2147474675"/>
            <ac:spMk id="50" creationId="{31EDF6BE-71AC-2462-CA43-5B90D5E8D6ED}"/>
          </ac:spMkLst>
        </pc:spChg>
        <pc:spChg chg="mod">
          <ac:chgData name="Daniela Choto" userId="c67ca039-e970-479c-a906-a34349937577" providerId="ADAL" clId="{EDBE599F-B500-46C8-B8D4-4286E381391F}" dt="2026-03-31T16:41:44.896" v="131" actId="962"/>
          <ac:spMkLst>
            <pc:docMk/>
            <pc:sldMk cId="245690929" sldId="2147474675"/>
            <ac:spMk id="51" creationId="{8D40921B-69F7-6EE0-ED0B-17BA57167F75}"/>
          </ac:spMkLst>
        </pc:spChg>
        <pc:spChg chg="mod">
          <ac:chgData name="Daniela Choto" userId="c67ca039-e970-479c-a906-a34349937577" providerId="ADAL" clId="{EDBE599F-B500-46C8-B8D4-4286E381391F}" dt="2026-03-31T16:41:48.558" v="134" actId="962"/>
          <ac:spMkLst>
            <pc:docMk/>
            <pc:sldMk cId="245690929" sldId="2147474675"/>
            <ac:spMk id="56" creationId="{D44450C7-90CE-E11B-6FB2-B3BF97BE8F95}"/>
          </ac:spMkLst>
        </pc:spChg>
        <pc:spChg chg="mod">
          <ac:chgData name="Daniela Choto" userId="c67ca039-e970-479c-a906-a34349937577" providerId="ADAL" clId="{EDBE599F-B500-46C8-B8D4-4286E381391F}" dt="2026-03-31T16:41:53.391" v="135" actId="962"/>
          <ac:spMkLst>
            <pc:docMk/>
            <pc:sldMk cId="245690929" sldId="2147474675"/>
            <ac:spMk id="57" creationId="{83D0F6AB-ACFE-5193-2A73-D9FCAE4D4B82}"/>
          </ac:spMkLst>
        </pc:spChg>
        <pc:spChg chg="mod">
          <ac:chgData name="Daniela Choto" userId="c67ca039-e970-479c-a906-a34349937577" providerId="ADAL" clId="{EDBE599F-B500-46C8-B8D4-4286E381391F}" dt="2026-03-31T16:41:53.851" v="136" actId="962"/>
          <ac:spMkLst>
            <pc:docMk/>
            <pc:sldMk cId="245690929" sldId="2147474675"/>
            <ac:spMk id="58" creationId="{F2D254BF-7E74-97FD-92C4-36FCAA22E9BB}"/>
          </ac:spMkLst>
        </pc:spChg>
        <pc:spChg chg="mod">
          <ac:chgData name="Daniela Choto" userId="c67ca039-e970-479c-a906-a34349937577" providerId="ADAL" clId="{EDBE599F-B500-46C8-B8D4-4286E381391F}" dt="2026-03-31T16:42:00.608" v="140" actId="962"/>
          <ac:spMkLst>
            <pc:docMk/>
            <pc:sldMk cId="245690929" sldId="2147474675"/>
            <ac:spMk id="67" creationId="{AE38E89A-9500-D581-B2C5-D5C0334779E9}"/>
          </ac:spMkLst>
        </pc:spChg>
        <pc:spChg chg="mod">
          <ac:chgData name="Daniela Choto" userId="c67ca039-e970-479c-a906-a34349937577" providerId="ADAL" clId="{EDBE599F-B500-46C8-B8D4-4286E381391F}" dt="2026-03-31T16:42:05.391" v="145" actId="962"/>
          <ac:spMkLst>
            <pc:docMk/>
            <pc:sldMk cId="245690929" sldId="2147474675"/>
            <ac:spMk id="71" creationId="{9EBBABF5-5894-3252-6684-60B5CFDAB921}"/>
          </ac:spMkLst>
        </pc:spChg>
        <pc:spChg chg="mod">
          <ac:chgData name="Daniela Choto" userId="c67ca039-e970-479c-a906-a34349937577" providerId="ADAL" clId="{EDBE599F-B500-46C8-B8D4-4286E381391F}" dt="2026-03-31T16:42:08.258" v="146" actId="962"/>
          <ac:spMkLst>
            <pc:docMk/>
            <pc:sldMk cId="245690929" sldId="2147474675"/>
            <ac:spMk id="72" creationId="{25F34EFD-F3A1-069D-955A-B1BA281235C2}"/>
          </ac:spMkLst>
        </pc:spChg>
        <pc:spChg chg="mod">
          <ac:chgData name="Daniela Choto" userId="c67ca039-e970-479c-a906-a34349937577" providerId="ADAL" clId="{EDBE599F-B500-46C8-B8D4-4286E381391F}" dt="2026-03-31T16:42:09.508" v="147" actId="962"/>
          <ac:spMkLst>
            <pc:docMk/>
            <pc:sldMk cId="245690929" sldId="2147474675"/>
            <ac:spMk id="73" creationId="{BEDDE3A6-7BEA-EE08-090D-13586CCEBBD8}"/>
          </ac:spMkLst>
        </pc:spChg>
        <pc:spChg chg="mod">
          <ac:chgData name="Daniela Choto" userId="c67ca039-e970-479c-a906-a34349937577" providerId="ADAL" clId="{EDBE599F-B500-46C8-B8D4-4286E381391F}" dt="2026-03-31T16:42:10.176" v="148" actId="962"/>
          <ac:spMkLst>
            <pc:docMk/>
            <pc:sldMk cId="245690929" sldId="2147474675"/>
            <ac:spMk id="74" creationId="{339F3C0F-AEAD-3CC1-CAED-37A5C849F084}"/>
          </ac:spMkLst>
        </pc:spChg>
        <pc:spChg chg="mod">
          <ac:chgData name="Daniela Choto" userId="c67ca039-e970-479c-a906-a34349937577" providerId="ADAL" clId="{EDBE599F-B500-46C8-B8D4-4286E381391F}" dt="2026-03-31T16:42:15.151" v="149" actId="962"/>
          <ac:spMkLst>
            <pc:docMk/>
            <pc:sldMk cId="245690929" sldId="2147474675"/>
            <ac:spMk id="75" creationId="{F6E0441D-8376-12A0-ABAF-B4532F5979E8}"/>
          </ac:spMkLst>
        </pc:spChg>
        <pc:graphicFrameChg chg="mod">
          <ac:chgData name="Daniela Choto" userId="c67ca039-e970-479c-a906-a34349937577" providerId="ADAL" clId="{EDBE599F-B500-46C8-B8D4-4286E381391F}" dt="2026-03-31T16:40:56.441" v="117" actId="962"/>
          <ac:graphicFrameMkLst>
            <pc:docMk/>
            <pc:sldMk cId="245690929" sldId="2147474675"/>
            <ac:graphicFrameMk id="12" creationId="{DEC54571-3482-B5F0-7CFE-00B1E74D0FED}"/>
          </ac:graphicFrameMkLst>
        </pc:graphicFrameChg>
        <pc:picChg chg="mod">
          <ac:chgData name="Daniela Choto" userId="c67ca039-e970-479c-a906-a34349937577" providerId="ADAL" clId="{EDBE599F-B500-46C8-B8D4-4286E381391F}" dt="2026-03-31T16:42:18.291" v="150" actId="962"/>
          <ac:picMkLst>
            <pc:docMk/>
            <pc:sldMk cId="245690929" sldId="2147474675"/>
            <ac:picMk id="6" creationId="{17B629D4-114E-BCFB-DDFA-EF840822CD46}"/>
          </ac:picMkLst>
        </pc:picChg>
        <pc:picChg chg="mod">
          <ac:chgData name="Daniela Choto" userId="c67ca039-e970-479c-a906-a34349937577" providerId="ADAL" clId="{EDBE599F-B500-46C8-B8D4-4286E381391F}" dt="2026-03-31T16:42:19.084" v="151" actId="962"/>
          <ac:picMkLst>
            <pc:docMk/>
            <pc:sldMk cId="245690929" sldId="2147474675"/>
            <ac:picMk id="7" creationId="{CAAF0B6A-8750-9230-D061-B31DBE60A862}"/>
          </ac:picMkLst>
        </pc:picChg>
        <pc:picChg chg="mod">
          <ac:chgData name="Daniela Choto" userId="c67ca039-e970-479c-a906-a34349937577" providerId="ADAL" clId="{EDBE599F-B500-46C8-B8D4-4286E381391F}" dt="2026-03-31T16:42:20.709" v="152" actId="962"/>
          <ac:picMkLst>
            <pc:docMk/>
            <pc:sldMk cId="245690929" sldId="2147474675"/>
            <ac:picMk id="9" creationId="{731E16F2-5941-FED4-160A-2579DD8A7BC7}"/>
          </ac:picMkLst>
        </pc:picChg>
        <pc:picChg chg="mod">
          <ac:chgData name="Daniela Choto" userId="c67ca039-e970-479c-a906-a34349937577" providerId="ADAL" clId="{EDBE599F-B500-46C8-B8D4-4286E381391F}" dt="2026-03-31T16:40:59.796" v="118" actId="962"/>
          <ac:picMkLst>
            <pc:docMk/>
            <pc:sldMk cId="245690929" sldId="2147474675"/>
            <ac:picMk id="13" creationId="{E00EEAB2-BBFE-B4BA-E6BC-56B92C353AE1}"/>
          </ac:picMkLst>
        </pc:picChg>
        <pc:picChg chg="mod">
          <ac:chgData name="Daniela Choto" userId="c67ca039-e970-479c-a906-a34349937577" providerId="ADAL" clId="{EDBE599F-B500-46C8-B8D4-4286E381391F}" dt="2026-03-31T16:42:37.120" v="155" actId="962"/>
          <ac:picMkLst>
            <pc:docMk/>
            <pc:sldMk cId="245690929" sldId="2147474675"/>
            <ac:picMk id="29" creationId="{EF8D8FD2-CBFE-2098-DE65-0FE9C37F9DA6}"/>
          </ac:picMkLst>
        </pc:picChg>
        <pc:picChg chg="mod">
          <ac:chgData name="Daniela Choto" userId="c67ca039-e970-479c-a906-a34349937577" providerId="ADAL" clId="{EDBE599F-B500-46C8-B8D4-4286E381391F}" dt="2026-03-31T16:42:43.360" v="157" actId="962"/>
          <ac:picMkLst>
            <pc:docMk/>
            <pc:sldMk cId="245690929" sldId="2147474675"/>
            <ac:picMk id="33" creationId="{0D2B1BCE-097B-00B9-03EF-24EA0D4217E7}"/>
          </ac:picMkLst>
        </pc:picChg>
        <pc:picChg chg="mod">
          <ac:chgData name="Daniela Choto" userId="c67ca039-e970-479c-a906-a34349937577" providerId="ADAL" clId="{EDBE599F-B500-46C8-B8D4-4286E381391F}" dt="2026-03-31T16:41:30.118" v="122" actId="962"/>
          <ac:picMkLst>
            <pc:docMk/>
            <pc:sldMk cId="245690929" sldId="2147474675"/>
            <ac:picMk id="39" creationId="{129EA246-88D9-EA59-D838-4EA00085760C}"/>
          </ac:picMkLst>
        </pc:picChg>
        <pc:picChg chg="mod">
          <ac:chgData name="Daniela Choto" userId="c67ca039-e970-479c-a906-a34349937577" providerId="ADAL" clId="{EDBE599F-B500-46C8-B8D4-4286E381391F}" dt="2026-03-31T16:41:34.758" v="124" actId="962"/>
          <ac:picMkLst>
            <pc:docMk/>
            <pc:sldMk cId="245690929" sldId="2147474675"/>
            <ac:picMk id="43" creationId="{A05B80B9-1037-16F6-9166-1F1FCF89BC8F}"/>
          </ac:picMkLst>
        </pc:picChg>
        <pc:picChg chg="mod">
          <ac:chgData name="Daniela Choto" userId="c67ca039-e970-479c-a906-a34349937577" providerId="ADAL" clId="{EDBE599F-B500-46C8-B8D4-4286E381391F}" dt="2026-03-31T16:41:35.719" v="125" actId="962"/>
          <ac:picMkLst>
            <pc:docMk/>
            <pc:sldMk cId="245690929" sldId="2147474675"/>
            <ac:picMk id="44" creationId="{DB4CCFD6-EBF8-4723-0D48-B04DAC51644B}"/>
          </ac:picMkLst>
        </pc:picChg>
        <pc:picChg chg="mod">
          <ac:chgData name="Daniela Choto" userId="c67ca039-e970-479c-a906-a34349937577" providerId="ADAL" clId="{EDBE599F-B500-46C8-B8D4-4286E381391F}" dt="2026-03-31T16:41:39.977" v="128" actId="962"/>
          <ac:picMkLst>
            <pc:docMk/>
            <pc:sldMk cId="245690929" sldId="2147474675"/>
            <ac:picMk id="48" creationId="{F90951A6-F40A-F058-A8B9-7A3E1C0D8C66}"/>
          </ac:picMkLst>
        </pc:picChg>
        <pc:picChg chg="mod">
          <ac:chgData name="Daniela Choto" userId="c67ca039-e970-479c-a906-a34349937577" providerId="ADAL" clId="{EDBE599F-B500-46C8-B8D4-4286E381391F}" dt="2026-03-31T16:41:41.280" v="129" actId="962"/>
          <ac:picMkLst>
            <pc:docMk/>
            <pc:sldMk cId="245690929" sldId="2147474675"/>
            <ac:picMk id="49" creationId="{A8100765-AA02-BC94-8E9C-A87601726680}"/>
          </ac:picMkLst>
        </pc:picChg>
        <pc:picChg chg="mod">
          <ac:chgData name="Daniela Choto" userId="c67ca039-e970-479c-a906-a34349937577" providerId="ADAL" clId="{EDBE599F-B500-46C8-B8D4-4286E381391F}" dt="2026-03-31T16:41:46.108" v="133" actId="962"/>
          <ac:picMkLst>
            <pc:docMk/>
            <pc:sldMk cId="245690929" sldId="2147474675"/>
            <ac:picMk id="54" creationId="{9B5D822D-0B8B-5E1A-F371-08917A16B95F}"/>
          </ac:picMkLst>
        </pc:picChg>
        <pc:picChg chg="mod">
          <ac:chgData name="Daniela Choto" userId="c67ca039-e970-479c-a906-a34349937577" providerId="ADAL" clId="{EDBE599F-B500-46C8-B8D4-4286E381391F}" dt="2026-03-31T16:41:45.418" v="132" actId="962"/>
          <ac:picMkLst>
            <pc:docMk/>
            <pc:sldMk cId="245690929" sldId="2147474675"/>
            <ac:picMk id="55" creationId="{3EE4053F-4521-1F2D-666C-F9F88FFC77FB}"/>
          </ac:picMkLst>
        </pc:picChg>
        <pc:picChg chg="mod">
          <ac:chgData name="Daniela Choto" userId="c67ca039-e970-479c-a906-a34349937577" providerId="ADAL" clId="{EDBE599F-B500-46C8-B8D4-4286E381391F}" dt="2026-03-31T16:41:54.360" v="137" actId="962"/>
          <ac:picMkLst>
            <pc:docMk/>
            <pc:sldMk cId="245690929" sldId="2147474675"/>
            <ac:picMk id="60" creationId="{F5EA77E6-9C3D-B06D-C129-4A109E0ABD4D}"/>
          </ac:picMkLst>
        </pc:picChg>
        <pc:picChg chg="mod">
          <ac:chgData name="Daniela Choto" userId="c67ca039-e970-479c-a906-a34349937577" providerId="ADAL" clId="{EDBE599F-B500-46C8-B8D4-4286E381391F}" dt="2026-03-31T16:41:55.230" v="138" actId="962"/>
          <ac:picMkLst>
            <pc:docMk/>
            <pc:sldMk cId="245690929" sldId="2147474675"/>
            <ac:picMk id="61" creationId="{C365B194-05CC-E474-A1F6-837261C144BC}"/>
          </ac:picMkLst>
        </pc:picChg>
        <pc:picChg chg="mod">
          <ac:chgData name="Daniela Choto" userId="c67ca039-e970-479c-a906-a34349937577" providerId="ADAL" clId="{EDBE599F-B500-46C8-B8D4-4286E381391F}" dt="2026-03-31T16:41:56.812" v="139" actId="962"/>
          <ac:picMkLst>
            <pc:docMk/>
            <pc:sldMk cId="245690929" sldId="2147474675"/>
            <ac:picMk id="63" creationId="{2C835CCB-B5C6-1673-A47A-428FD0B18B97}"/>
          </ac:picMkLst>
        </pc:picChg>
        <pc:picChg chg="mod">
          <ac:chgData name="Daniela Choto" userId="c67ca039-e970-479c-a906-a34349937577" providerId="ADAL" clId="{EDBE599F-B500-46C8-B8D4-4286E381391F}" dt="2026-03-31T16:42:03.308" v="142" actId="962"/>
          <ac:picMkLst>
            <pc:docMk/>
            <pc:sldMk cId="245690929" sldId="2147474675"/>
            <ac:picMk id="68" creationId="{E7F40C2B-A53F-FE2D-7517-45816B1EBE28}"/>
          </ac:picMkLst>
        </pc:picChg>
        <pc:picChg chg="mod">
          <ac:chgData name="Daniela Choto" userId="c67ca039-e970-479c-a906-a34349937577" providerId="ADAL" clId="{EDBE599F-B500-46C8-B8D4-4286E381391F}" dt="2026-03-31T16:42:04.140" v="143" actId="962"/>
          <ac:picMkLst>
            <pc:docMk/>
            <pc:sldMk cId="245690929" sldId="2147474675"/>
            <ac:picMk id="69" creationId="{554E56D0-3005-0360-905D-187E721A089A}"/>
          </ac:picMkLst>
        </pc:picChg>
        <pc:picChg chg="mod">
          <ac:chgData name="Daniela Choto" userId="c67ca039-e970-479c-a906-a34349937577" providerId="ADAL" clId="{EDBE599F-B500-46C8-B8D4-4286E381391F}" dt="2026-03-31T16:42:04.803" v="144" actId="962"/>
          <ac:picMkLst>
            <pc:docMk/>
            <pc:sldMk cId="245690929" sldId="2147474675"/>
            <ac:picMk id="70" creationId="{E92AAE82-BBC6-06DE-9600-6B9A7F049E35}"/>
          </ac:picMkLst>
        </pc:picChg>
      </pc:sldChg>
      <pc:sldChg chg="modSp mod">
        <pc:chgData name="Daniela Choto" userId="c67ca039-e970-479c-a906-a34349937577" providerId="ADAL" clId="{EDBE599F-B500-46C8-B8D4-4286E381391F}" dt="2026-03-17T22:00:24.228" v="96" actId="13244"/>
        <pc:sldMkLst>
          <pc:docMk/>
          <pc:sldMk cId="1525479685" sldId="2147474677"/>
        </pc:sldMkLst>
        <pc:spChg chg="mod">
          <ac:chgData name="Daniela Choto" userId="c67ca039-e970-479c-a906-a34349937577" providerId="ADAL" clId="{EDBE599F-B500-46C8-B8D4-4286E381391F}" dt="2026-03-17T21:57:02.486" v="88" actId="962"/>
          <ac:spMkLst>
            <pc:docMk/>
            <pc:sldMk cId="1525479685" sldId="2147474677"/>
            <ac:spMk id="2" creationId="{3C39EB23-6875-A9F7-4583-1BEAEEA1427D}"/>
          </ac:spMkLst>
        </pc:spChg>
        <pc:spChg chg="ord">
          <ac:chgData name="Daniela Choto" userId="c67ca039-e970-479c-a906-a34349937577" providerId="ADAL" clId="{EDBE599F-B500-46C8-B8D4-4286E381391F}" dt="2026-03-17T22:00:24.228" v="96" actId="13244"/>
          <ac:spMkLst>
            <pc:docMk/>
            <pc:sldMk cId="1525479685" sldId="2147474677"/>
            <ac:spMk id="3" creationId="{42CAF802-8821-8A0B-534F-C809F15B2C0F}"/>
          </ac:spMkLst>
        </pc:spChg>
        <pc:spChg chg="mod ord">
          <ac:chgData name="Daniela Choto" userId="c67ca039-e970-479c-a906-a34349937577" providerId="ADAL" clId="{EDBE599F-B500-46C8-B8D4-4286E381391F}" dt="2026-03-17T22:00:14.772" v="95" actId="13244"/>
          <ac:spMkLst>
            <pc:docMk/>
            <pc:sldMk cId="1525479685" sldId="2147474677"/>
            <ac:spMk id="10" creationId="{184DFEA0-8606-F9C5-5BF5-D3412DA0A046}"/>
          </ac:spMkLst>
        </pc:spChg>
        <pc:spChg chg="mod">
          <ac:chgData name="Daniela Choto" userId="c67ca039-e970-479c-a906-a34349937577" providerId="ADAL" clId="{EDBE599F-B500-46C8-B8D4-4286E381391F}" dt="2026-03-17T22:00:03.101" v="92" actId="962"/>
          <ac:spMkLst>
            <pc:docMk/>
            <pc:sldMk cId="1525479685" sldId="2147474677"/>
            <ac:spMk id="11" creationId="{5DE2C3A1-49BE-89ED-7D4A-231C3630959A}"/>
          </ac:spMkLst>
        </pc:spChg>
      </pc:sldChg>
      <pc:sldChg chg="modSp mod">
        <pc:chgData name="Daniela Choto" userId="c67ca039-e970-479c-a906-a34349937577" providerId="ADAL" clId="{EDBE599F-B500-46C8-B8D4-4286E381391F}" dt="2026-03-17T22:03:38.623" v="107" actId="962"/>
        <pc:sldMkLst>
          <pc:docMk/>
          <pc:sldMk cId="314974572" sldId="2147474681"/>
        </pc:sldMkLst>
        <pc:spChg chg="mod">
          <ac:chgData name="Daniela Choto" userId="c67ca039-e970-479c-a906-a34349937577" providerId="ADAL" clId="{EDBE599F-B500-46C8-B8D4-4286E381391F}" dt="2026-03-17T22:03:38.623" v="107" actId="962"/>
          <ac:spMkLst>
            <pc:docMk/>
            <pc:sldMk cId="314974572" sldId="2147474681"/>
            <ac:spMk id="4" creationId="{496FA899-40AB-B89B-FCE7-74E344824255}"/>
          </ac:spMkLst>
        </pc:spChg>
        <pc:picChg chg="mod">
          <ac:chgData name="Daniela Choto" userId="c67ca039-e970-479c-a906-a34349937577" providerId="ADAL" clId="{EDBE599F-B500-46C8-B8D4-4286E381391F}" dt="2026-03-17T22:03:37.901" v="105" actId="962"/>
          <ac:picMkLst>
            <pc:docMk/>
            <pc:sldMk cId="314974572" sldId="2147474681"/>
            <ac:picMk id="3" creationId="{E2244A83-99FF-0050-F8B3-F2EA20CF750B}"/>
          </ac:picMkLst>
        </pc:picChg>
      </pc:sldChg>
      <pc:sldChg chg="addSp modSp mod">
        <pc:chgData name="Daniela Choto" userId="c67ca039-e970-479c-a906-a34349937577" providerId="ADAL" clId="{EDBE599F-B500-46C8-B8D4-4286E381391F}" dt="2026-03-11T22:40:31.460" v="54" actId="962"/>
        <pc:sldMkLst>
          <pc:docMk/>
          <pc:sldMk cId="3183454996" sldId="2147474682"/>
        </pc:sldMkLst>
        <pc:spChg chg="mod">
          <ac:chgData name="Daniela Choto" userId="c67ca039-e970-479c-a906-a34349937577" providerId="ADAL" clId="{EDBE599F-B500-46C8-B8D4-4286E381391F}" dt="2026-03-11T22:31:10.538" v="48" actId="962"/>
          <ac:spMkLst>
            <pc:docMk/>
            <pc:sldMk cId="3183454996" sldId="2147474682"/>
            <ac:spMk id="3" creationId="{0260B4BF-5BD7-477E-2057-A47B437FAE1C}"/>
          </ac:spMkLst>
        </pc:spChg>
        <pc:spChg chg="ord">
          <ac:chgData name="Daniela Choto" userId="c67ca039-e970-479c-a906-a34349937577" providerId="ADAL" clId="{EDBE599F-B500-46C8-B8D4-4286E381391F}" dt="2026-03-11T22:31:04.053" v="45"/>
          <ac:spMkLst>
            <pc:docMk/>
            <pc:sldMk cId="3183454996" sldId="2147474682"/>
            <ac:spMk id="4" creationId="{B0703ED7-3F18-5DEB-6D39-6208CE11FCF7}"/>
          </ac:spMkLst>
        </pc:spChg>
        <pc:spChg chg="mod">
          <ac:chgData name="Daniela Choto" userId="c67ca039-e970-479c-a906-a34349937577" providerId="ADAL" clId="{EDBE599F-B500-46C8-B8D4-4286E381391F}" dt="2026-03-11T22:31:23.005" v="49" actId="962"/>
          <ac:spMkLst>
            <pc:docMk/>
            <pc:sldMk cId="3183454996" sldId="2147474682"/>
            <ac:spMk id="16" creationId="{037C2BFA-8B82-D022-9471-4F907B0F3056}"/>
          </ac:spMkLst>
        </pc:spChg>
        <pc:spChg chg="ord">
          <ac:chgData name="Daniela Choto" userId="c67ca039-e970-479c-a906-a34349937577" providerId="ADAL" clId="{EDBE599F-B500-46C8-B8D4-4286E381391F}" dt="2026-03-11T22:31:00.205" v="43"/>
          <ac:spMkLst>
            <pc:docMk/>
            <pc:sldMk cId="3183454996" sldId="2147474682"/>
            <ac:spMk id="43" creationId="{E4BECD21-F96A-06B5-8D13-2B32D86EFA5A}"/>
          </ac:spMkLst>
        </pc:spChg>
        <pc:graphicFrameChg chg="mod modVis">
          <ac:chgData name="Daniela Choto" userId="c67ca039-e970-479c-a906-a34349937577" providerId="ADAL" clId="{EDBE599F-B500-46C8-B8D4-4286E381391F}" dt="2026-03-11T22:31:07.905" v="47" actId="962"/>
          <ac:graphicFrameMkLst>
            <pc:docMk/>
            <pc:sldMk cId="3183454996" sldId="2147474682"/>
            <ac:graphicFrameMk id="110" creationId="{56CA34F0-5692-D0EF-E055-D1D4EE512466}"/>
          </ac:graphicFrameMkLst>
        </pc:graphicFrameChg>
        <pc:picChg chg="mod">
          <ac:chgData name="Daniela Choto" userId="c67ca039-e970-479c-a906-a34349937577" providerId="ADAL" clId="{EDBE599F-B500-46C8-B8D4-4286E381391F}" dt="2026-03-11T22:34:57.022" v="51" actId="962"/>
          <ac:picMkLst>
            <pc:docMk/>
            <pc:sldMk cId="3183454996" sldId="2147474682"/>
            <ac:picMk id="9" creationId="{C27CE139-B308-BF4F-E202-D932C76FE50F}"/>
          </ac:picMkLst>
        </pc:picChg>
        <pc:picChg chg="mod">
          <ac:chgData name="Daniela Choto" userId="c67ca039-e970-479c-a906-a34349937577" providerId="ADAL" clId="{EDBE599F-B500-46C8-B8D4-4286E381391F}" dt="2026-03-11T22:40:31.460" v="54" actId="962"/>
          <ac:picMkLst>
            <pc:docMk/>
            <pc:sldMk cId="3183454996" sldId="2147474682"/>
            <ac:picMk id="15" creationId="{25F0BFF5-0D1A-30A0-ECA2-24B5D21559A5}"/>
          </ac:picMkLst>
        </pc:picChg>
      </pc:sldChg>
      <pc:sldChg chg="modSp mod">
        <pc:chgData name="Daniela Choto" userId="c67ca039-e970-479c-a906-a34349937577" providerId="ADAL" clId="{EDBE599F-B500-46C8-B8D4-4286E381391F}" dt="2026-03-17T21:55:57.183" v="86" actId="962"/>
        <pc:sldMkLst>
          <pc:docMk/>
          <pc:sldMk cId="538727744" sldId="2147474683"/>
        </pc:sldMkLst>
        <pc:spChg chg="mod">
          <ac:chgData name="Daniela Choto" userId="c67ca039-e970-479c-a906-a34349937577" providerId="ADAL" clId="{EDBE599F-B500-46C8-B8D4-4286E381391F}" dt="2026-03-11T22:46:07.810" v="65" actId="962"/>
          <ac:spMkLst>
            <pc:docMk/>
            <pc:sldMk cId="538727744" sldId="2147474683"/>
            <ac:spMk id="3" creationId="{1B7D98A4-E01D-9C55-CB25-B624B2C1B4ED}"/>
          </ac:spMkLst>
        </pc:spChg>
        <pc:spChg chg="mod">
          <ac:chgData name="Daniela Choto" userId="c67ca039-e970-479c-a906-a34349937577" providerId="ADAL" clId="{EDBE599F-B500-46C8-B8D4-4286E381391F}" dt="2026-03-11T22:46:17.027" v="68" actId="962"/>
          <ac:spMkLst>
            <pc:docMk/>
            <pc:sldMk cId="538727744" sldId="2147474683"/>
            <ac:spMk id="13" creationId="{1F290B69-CE8C-AE50-F41C-07A1F4A8A500}"/>
          </ac:spMkLst>
        </pc:spChg>
        <pc:spChg chg="mod">
          <ac:chgData name="Daniela Choto" userId="c67ca039-e970-479c-a906-a34349937577" providerId="ADAL" clId="{EDBE599F-B500-46C8-B8D4-4286E381391F}" dt="2026-03-11T22:46:17.574" v="69" actId="962"/>
          <ac:spMkLst>
            <pc:docMk/>
            <pc:sldMk cId="538727744" sldId="2147474683"/>
            <ac:spMk id="14" creationId="{53EECA69-B604-A203-AAC2-B450E43D78C1}"/>
          </ac:spMkLst>
        </pc:spChg>
        <pc:spChg chg="mod">
          <ac:chgData name="Daniela Choto" userId="c67ca039-e970-479c-a906-a34349937577" providerId="ADAL" clId="{EDBE599F-B500-46C8-B8D4-4286E381391F}" dt="2026-03-11T22:46:18.049" v="70" actId="962"/>
          <ac:spMkLst>
            <pc:docMk/>
            <pc:sldMk cId="538727744" sldId="2147474683"/>
            <ac:spMk id="16" creationId="{70873968-D439-F603-E727-23D5EB7EEDE5}"/>
          </ac:spMkLst>
        </pc:spChg>
        <pc:spChg chg="mod">
          <ac:chgData name="Daniela Choto" userId="c67ca039-e970-479c-a906-a34349937577" providerId="ADAL" clId="{EDBE599F-B500-46C8-B8D4-4286E381391F}" dt="2026-03-11T22:46:18.517" v="71" actId="962"/>
          <ac:spMkLst>
            <pc:docMk/>
            <pc:sldMk cId="538727744" sldId="2147474683"/>
            <ac:spMk id="17" creationId="{7D8AFD3C-05B5-918E-318A-5F150567F48D}"/>
          </ac:spMkLst>
        </pc:spChg>
        <pc:graphicFrameChg chg="mod modVis">
          <ac:chgData name="Daniela Choto" userId="c67ca039-e970-479c-a906-a34349937577" providerId="ADAL" clId="{EDBE599F-B500-46C8-B8D4-4286E381391F}" dt="2026-03-11T22:46:10.044" v="67" actId="962"/>
          <ac:graphicFrameMkLst>
            <pc:docMk/>
            <pc:sldMk cId="538727744" sldId="2147474683"/>
            <ac:graphicFrameMk id="110" creationId="{95DD6BB5-6967-7BAB-7F60-B3F92027DC52}"/>
          </ac:graphicFrameMkLst>
        </pc:graphicFrameChg>
        <pc:picChg chg="mod">
          <ac:chgData name="Daniela Choto" userId="c67ca039-e970-479c-a906-a34349937577" providerId="ADAL" clId="{EDBE599F-B500-46C8-B8D4-4286E381391F}" dt="2026-03-17T21:55:57.183" v="86" actId="962"/>
          <ac:picMkLst>
            <pc:docMk/>
            <pc:sldMk cId="538727744" sldId="2147474683"/>
            <ac:picMk id="9" creationId="{F0202139-B2F9-12B0-2653-81671CB3348A}"/>
          </ac:picMkLst>
        </pc:picChg>
      </pc:sldChg>
      <pc:sldChg chg="modSp mod">
        <pc:chgData name="Daniela Choto" userId="c67ca039-e970-479c-a906-a34349937577" providerId="ADAL" clId="{EDBE599F-B500-46C8-B8D4-4286E381391F}" dt="2026-03-11T22:48:11.297" v="82" actId="962"/>
        <pc:sldMkLst>
          <pc:docMk/>
          <pc:sldMk cId="614870500" sldId="2147474684"/>
        </pc:sldMkLst>
        <pc:spChg chg="mod">
          <ac:chgData name="Daniela Choto" userId="c67ca039-e970-479c-a906-a34349937577" providerId="ADAL" clId="{EDBE599F-B500-46C8-B8D4-4286E381391F}" dt="2026-03-11T22:47:11.444" v="76" actId="962"/>
          <ac:spMkLst>
            <pc:docMk/>
            <pc:sldMk cId="614870500" sldId="2147474684"/>
            <ac:spMk id="3" creationId="{F1E632B4-AFFC-1EAD-0BD3-4341FE5D97EA}"/>
          </ac:spMkLst>
        </pc:spChg>
        <pc:spChg chg="mod">
          <ac:chgData name="Daniela Choto" userId="c67ca039-e970-479c-a906-a34349937577" providerId="ADAL" clId="{EDBE599F-B500-46C8-B8D4-4286E381391F}" dt="2026-03-11T22:47:17.047" v="77" actId="962"/>
          <ac:spMkLst>
            <pc:docMk/>
            <pc:sldMk cId="614870500" sldId="2147474684"/>
            <ac:spMk id="8" creationId="{4FD33974-1B58-399F-C1F3-3A10ECC50118}"/>
          </ac:spMkLst>
        </pc:spChg>
        <pc:spChg chg="mod">
          <ac:chgData name="Daniela Choto" userId="c67ca039-e970-479c-a906-a34349937577" providerId="ADAL" clId="{EDBE599F-B500-46C8-B8D4-4286E381391F}" dt="2026-03-11T22:47:17.545" v="78" actId="962"/>
          <ac:spMkLst>
            <pc:docMk/>
            <pc:sldMk cId="614870500" sldId="2147474684"/>
            <ac:spMk id="9" creationId="{D6741FCE-F568-8A35-CE53-918CB6B691F2}"/>
          </ac:spMkLst>
        </pc:spChg>
        <pc:spChg chg="mod">
          <ac:chgData name="Daniela Choto" userId="c67ca039-e970-479c-a906-a34349937577" providerId="ADAL" clId="{EDBE599F-B500-46C8-B8D4-4286E381391F}" dt="2026-03-11T22:47:18.014" v="79" actId="962"/>
          <ac:spMkLst>
            <pc:docMk/>
            <pc:sldMk cId="614870500" sldId="2147474684"/>
            <ac:spMk id="11" creationId="{DEE48F50-2707-7CAE-769F-4A6842FFB013}"/>
          </ac:spMkLst>
        </pc:spChg>
        <pc:spChg chg="mod">
          <ac:chgData name="Daniela Choto" userId="c67ca039-e970-479c-a906-a34349937577" providerId="ADAL" clId="{EDBE599F-B500-46C8-B8D4-4286E381391F}" dt="2026-03-11T22:47:18.503" v="80" actId="962"/>
          <ac:spMkLst>
            <pc:docMk/>
            <pc:sldMk cId="614870500" sldId="2147474684"/>
            <ac:spMk id="12" creationId="{C96A654A-0445-4F80-B5B5-5907037853DC}"/>
          </ac:spMkLst>
        </pc:spChg>
        <pc:graphicFrameChg chg="mod modVis">
          <ac:chgData name="Daniela Choto" userId="c67ca039-e970-479c-a906-a34349937577" providerId="ADAL" clId="{EDBE599F-B500-46C8-B8D4-4286E381391F}" dt="2026-03-11T22:47:10.879" v="75" actId="962"/>
          <ac:graphicFrameMkLst>
            <pc:docMk/>
            <pc:sldMk cId="614870500" sldId="2147474684"/>
            <ac:graphicFrameMk id="110" creationId="{642CF82D-7C11-3343-4C28-9DB9DBC0DAD3}"/>
          </ac:graphicFrameMkLst>
        </pc:graphicFrameChg>
        <pc:picChg chg="mod">
          <ac:chgData name="Daniela Choto" userId="c67ca039-e970-479c-a906-a34349937577" providerId="ADAL" clId="{EDBE599F-B500-46C8-B8D4-4286E381391F}" dt="2026-03-11T22:48:11.297" v="82" actId="962"/>
          <ac:picMkLst>
            <pc:docMk/>
            <pc:sldMk cId="614870500" sldId="2147474684"/>
            <ac:picMk id="10" creationId="{D32B72AD-F08B-688C-9F29-190CB1157A8F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3BBF64B-9566-42B1-8D8F-0FF4B63D8AD2}" type="datetimeFigureOut">
              <a:rPr lang="en-US" smtClean="0"/>
              <a:t>4/7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7F4BDB1-C3B7-43B3-A7E7-4CCCE8A9973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32527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F57979-E0DC-4776-B366-A0DF8B76C47A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081640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9A8752E-F7CD-ECBA-87E4-B0BE9158FE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88A2D7D-1AAD-DEF8-9540-5490D345D90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9B108B0-34FC-16E0-6A0E-C6A030A669A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B115018-1690-9C19-7ED8-48D3D44A323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538012-AAEC-463F-80EE-1094C7A42A8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1464498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C0B7A2B-DD41-A4F3-965C-3EB41A197BB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47B15F4-6AF5-8204-5AED-35134CCAE63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80B8B7C-4C66-0D9D-5989-DAB4BD043FF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130BF08-36FA-45D3-09CF-2036E9E7CD2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538012-AAEC-463F-80EE-1094C7A42A8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1306890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F4BDB1-C3B7-43B3-A7E7-4CCCE8A99731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54708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2AD6646-939C-FAA4-A659-3FF8E1772BF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330154D-0DCA-D4D5-6607-CA26D271D59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81AA522-6C02-DD6C-4955-122B53F2625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6DCAFB2-3ED1-B84F-C416-DA7E2D95459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F4BDB1-C3B7-43B3-A7E7-4CCCE8A99731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129897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F4BDB1-C3B7-43B3-A7E7-4CCCE8A99731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325337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53FE2FC-031D-0A67-0113-37153AFFF3F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3F68240-5194-CA1B-BBD5-104F82E5D4B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09CBF32-D878-16CF-79BA-87EA9CA66CD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B88839D-14D6-D6AB-6F2D-8C0639F5C39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F4BDB1-C3B7-43B3-A7E7-4CCCE8A99731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543548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17A9FD1-8536-55E8-19F9-E8D00B7416C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B691197-C93D-9DB4-56A2-58BD56CF9F3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A691895-6BE5-79DD-8049-4987FD0D2D8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C79EF24-48F6-B7C7-EBDD-577E3E731E6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F4BDB1-C3B7-43B3-A7E7-4CCCE8A99731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99916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25BD746-03E3-8F43-1FBB-EB65252C773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55FF668-DAFF-2D00-D861-4F5D7EE3D72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21953C2-0ED8-973C-52DC-A8EF3E78142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3DADBB4-B7C2-1044-BECA-0A4B7166BC8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538012-AAEC-463F-80EE-1094C7A42A8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3835635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D180C9E-1BC2-BD64-BA13-30ABCCD9562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53AC49B-97B6-BF16-4AA3-6747CD99A21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7B638D4-D17B-1A50-82B7-4F3AB6C0D91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66FB71C-B53E-FECE-21CF-8B56A29E6E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538012-AAEC-463F-80EE-1094C7A42A8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283581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2.png"/><Relationship Id="rId5" Type="http://schemas.openxmlformats.org/officeDocument/2006/relationships/image" Target="../media/image3.sv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7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sv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9.pn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6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420283"/>
            <a:ext cx="5181600" cy="98001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0" y="2590800"/>
            <a:ext cx="4267200" cy="11684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048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096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9144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2192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5240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8288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1337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4385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7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73257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10617200" y="6487584"/>
            <a:ext cx="1422400" cy="243417"/>
          </a:xfrm>
        </p:spPr>
        <p:txBody>
          <a:bodyPr/>
          <a:lstStyle>
            <a:lvl1pPr algn="r">
              <a:defRPr/>
            </a:lvl1pPr>
          </a:lstStyle>
          <a:p>
            <a:fld id="{1D8BD707-D9CF-40AE-B4C6-C98DA3205C09}" type="datetimeFigureOut">
              <a:rPr lang="en-US" smtClean="0"/>
              <a:pPr/>
              <a:t>4/7/202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826000" y="6503044"/>
            <a:ext cx="1930400" cy="243417"/>
          </a:xfr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50800" y="6487584"/>
            <a:ext cx="558800" cy="243417"/>
          </a:xfrm>
        </p:spPr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227038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10617200" y="6487584"/>
            <a:ext cx="1422400" cy="243417"/>
          </a:xfrm>
        </p:spPr>
        <p:txBody>
          <a:bodyPr/>
          <a:lstStyle>
            <a:lvl1pPr algn="r">
              <a:defRPr/>
            </a:lvl1pPr>
          </a:lstStyle>
          <a:p>
            <a:fld id="{1D8BD707-D9CF-40AE-B4C6-C98DA3205C09}" type="datetimeFigureOut">
              <a:rPr lang="en-US" smtClean="0"/>
              <a:pPr/>
              <a:t>4/7/202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826000" y="6503044"/>
            <a:ext cx="1930400" cy="243417"/>
          </a:xfr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50800" y="6487584"/>
            <a:ext cx="558800" cy="243417"/>
          </a:xfrm>
        </p:spPr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53B7AE97-341D-1807-4B8A-A4FDF6D25988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992474045"/>
              </p:ext>
            </p:extLst>
          </p:nvPr>
        </p:nvGraphicFramePr>
        <p:xfrm>
          <a:off x="965200" y="1193800"/>
          <a:ext cx="10464800" cy="7416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08100">
                  <a:extLst>
                    <a:ext uri="{9D8B030D-6E8A-4147-A177-3AD203B41FA5}">
                      <a16:colId xmlns:a16="http://schemas.microsoft.com/office/drawing/2014/main" val="2229403083"/>
                    </a:ext>
                  </a:extLst>
                </a:gridCol>
                <a:gridCol w="1308100">
                  <a:extLst>
                    <a:ext uri="{9D8B030D-6E8A-4147-A177-3AD203B41FA5}">
                      <a16:colId xmlns:a16="http://schemas.microsoft.com/office/drawing/2014/main" val="1176328959"/>
                    </a:ext>
                  </a:extLst>
                </a:gridCol>
                <a:gridCol w="1308100">
                  <a:extLst>
                    <a:ext uri="{9D8B030D-6E8A-4147-A177-3AD203B41FA5}">
                      <a16:colId xmlns:a16="http://schemas.microsoft.com/office/drawing/2014/main" val="1936914556"/>
                    </a:ext>
                  </a:extLst>
                </a:gridCol>
                <a:gridCol w="1308100">
                  <a:extLst>
                    <a:ext uri="{9D8B030D-6E8A-4147-A177-3AD203B41FA5}">
                      <a16:colId xmlns:a16="http://schemas.microsoft.com/office/drawing/2014/main" val="1278892718"/>
                    </a:ext>
                  </a:extLst>
                </a:gridCol>
                <a:gridCol w="1308100">
                  <a:extLst>
                    <a:ext uri="{9D8B030D-6E8A-4147-A177-3AD203B41FA5}">
                      <a16:colId xmlns:a16="http://schemas.microsoft.com/office/drawing/2014/main" val="2552406078"/>
                    </a:ext>
                  </a:extLst>
                </a:gridCol>
                <a:gridCol w="1308100">
                  <a:extLst>
                    <a:ext uri="{9D8B030D-6E8A-4147-A177-3AD203B41FA5}">
                      <a16:colId xmlns:a16="http://schemas.microsoft.com/office/drawing/2014/main" val="2806854470"/>
                    </a:ext>
                  </a:extLst>
                </a:gridCol>
                <a:gridCol w="1308100">
                  <a:extLst>
                    <a:ext uri="{9D8B030D-6E8A-4147-A177-3AD203B41FA5}">
                      <a16:colId xmlns:a16="http://schemas.microsoft.com/office/drawing/2014/main" val="1054408706"/>
                    </a:ext>
                  </a:extLst>
                </a:gridCol>
                <a:gridCol w="1308100">
                  <a:extLst>
                    <a:ext uri="{9D8B030D-6E8A-4147-A177-3AD203B41FA5}">
                      <a16:colId xmlns:a16="http://schemas.microsoft.com/office/drawing/2014/main" val="2331227224"/>
                    </a:ext>
                  </a:extLst>
                </a:gridCol>
              </a:tblGrid>
              <a:tr h="247227">
                <a:tc gridSpan="2">
                  <a:txBody>
                    <a:bodyPr/>
                    <a:lstStyle/>
                    <a:p>
                      <a:r>
                        <a:rPr lang="en-US" sz="800"/>
                        <a:t>2024</a:t>
                      </a:r>
                    </a:p>
                  </a:txBody>
                  <a:tcPr marL="60960" marR="60960" marT="30480" marB="30480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r>
                        <a:rPr lang="en-US" sz="800"/>
                        <a:t>2025</a:t>
                      </a:r>
                    </a:p>
                  </a:txBody>
                  <a:tcPr marL="60960" marR="60960" marT="30480" marB="30480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en-US" sz="800"/>
                        <a:t>2026</a:t>
                      </a:r>
                    </a:p>
                  </a:txBody>
                  <a:tcPr marL="60960" marR="60960" marT="30480" marB="30480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58222320"/>
                  </a:ext>
                </a:extLst>
              </a:tr>
              <a:tr h="247227">
                <a:tc>
                  <a:txBody>
                    <a:bodyPr/>
                    <a:lstStyle/>
                    <a:p>
                      <a:pPr algn="ctr"/>
                      <a:r>
                        <a:rPr lang="en-US" sz="800"/>
                        <a:t>Q3</a:t>
                      </a:r>
                    </a:p>
                  </a:txBody>
                  <a:tcPr marL="60960" marR="60960" marT="30480" marB="3048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/>
                        <a:t>Q4</a:t>
                      </a:r>
                    </a:p>
                  </a:txBody>
                  <a:tcPr marL="60960" marR="60960" marT="30480" marB="3048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/>
                        <a:t>Q1</a:t>
                      </a:r>
                    </a:p>
                  </a:txBody>
                  <a:tcPr marL="60960" marR="60960" marT="30480" marB="3048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/>
                        <a:t>Q2</a:t>
                      </a:r>
                    </a:p>
                  </a:txBody>
                  <a:tcPr marL="60960" marR="60960" marT="30480" marB="3048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/>
                        <a:t>Q3</a:t>
                      </a:r>
                    </a:p>
                  </a:txBody>
                  <a:tcPr marL="60960" marR="60960" marT="30480" marB="3048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/>
                        <a:t>Q4</a:t>
                      </a:r>
                    </a:p>
                  </a:txBody>
                  <a:tcPr marL="60960" marR="60960" marT="30480" marB="3048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/>
                        <a:t>Q1</a:t>
                      </a:r>
                    </a:p>
                  </a:txBody>
                  <a:tcPr marL="60960" marR="60960" marT="30480" marB="3048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/>
                        <a:t>Q2</a:t>
                      </a:r>
                    </a:p>
                  </a:txBody>
                  <a:tcPr marL="60960" marR="60960" marT="30480" marB="30480"/>
                </a:tc>
                <a:extLst>
                  <a:ext uri="{0D108BD9-81ED-4DB2-BD59-A6C34878D82A}">
                    <a16:rowId xmlns:a16="http://schemas.microsoft.com/office/drawing/2014/main" val="1128769747"/>
                  </a:ext>
                </a:extLst>
              </a:tr>
              <a:tr h="247227"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 marL="60960" marR="60960" marT="30480" marB="30480"/>
                </a:tc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 marL="60960" marR="60960" marT="30480" marB="30480"/>
                </a:tc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 marL="60960" marR="60960" marT="30480" marB="30480"/>
                </a:tc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 marL="60960" marR="60960" marT="30480" marB="30480"/>
                </a:tc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 marL="60960" marR="60960" marT="30480" marB="30480"/>
                </a:tc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 marL="60960" marR="60960" marT="30480" marB="30480"/>
                </a:tc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 marL="60960" marR="60960" marT="30480" marB="30480"/>
                </a:tc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 marL="60960" marR="60960" marT="30480" marB="30480"/>
                </a:tc>
                <a:extLst>
                  <a:ext uri="{0D108BD9-81ED-4DB2-BD59-A6C34878D82A}">
                    <a16:rowId xmlns:a16="http://schemas.microsoft.com/office/drawing/2014/main" val="2877054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310094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89ED89D9-6DC9-6E97-F64B-D6F3F0469F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673978"/>
              </p:ext>
            </p:extLst>
          </p:nvPr>
        </p:nvGraphicFramePr>
        <p:xfrm>
          <a:off x="1059" y="1059"/>
          <a:ext cx="1059" cy="10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ED89D9-6DC9-6E97-F64B-D6F3F0469F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059" y="1059"/>
                        <a:ext cx="1059" cy="10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AutoShape 2">
            <a:extLst>
              <a:ext uri="{FF2B5EF4-FFF2-40B4-BE49-F238E27FC236}">
                <a16:creationId xmlns:a16="http://schemas.microsoft.com/office/drawing/2014/main" id="{FF26EC11-811F-4A05-B7AE-9E874FA06DD3}"/>
              </a:ext>
            </a:extLst>
          </p:cNvPr>
          <p:cNvSpPr/>
          <p:nvPr userDrawn="1"/>
        </p:nvSpPr>
        <p:spPr>
          <a:xfrm>
            <a:off x="-9237" y="3202709"/>
            <a:ext cx="12192000" cy="3657600"/>
          </a:xfrm>
          <a:prstGeom prst="rect">
            <a:avLst/>
          </a:prstGeom>
          <a:solidFill>
            <a:srgbClr val="32006E"/>
          </a:solidFill>
        </p:spPr>
        <p:txBody>
          <a:bodyPr/>
          <a:lstStyle/>
          <a:p>
            <a:endParaRPr lang="en-US" sz="1200"/>
          </a:p>
        </p:txBody>
      </p:sp>
      <p:sp>
        <p:nvSpPr>
          <p:cNvPr id="6" name="Freeform 3">
            <a:extLst>
              <a:ext uri="{FF2B5EF4-FFF2-40B4-BE49-F238E27FC236}">
                <a16:creationId xmlns:a16="http://schemas.microsoft.com/office/drawing/2014/main" id="{66316AB4-20AA-BC9B-134C-82174DA51140}"/>
              </a:ext>
            </a:extLst>
          </p:cNvPr>
          <p:cNvSpPr/>
          <p:nvPr userDrawn="1"/>
        </p:nvSpPr>
        <p:spPr>
          <a:xfrm>
            <a:off x="10695952" y="5847224"/>
            <a:ext cx="1496048" cy="1009153"/>
          </a:xfrm>
          <a:custGeom>
            <a:avLst/>
            <a:gdLst/>
            <a:ahLst/>
            <a:cxnLst/>
            <a:rect l="l" t="t" r="r" b="b"/>
            <a:pathLst>
              <a:path w="2244072" h="1513729">
                <a:moveTo>
                  <a:pt x="0" y="0"/>
                </a:moveTo>
                <a:lnTo>
                  <a:pt x="2244072" y="0"/>
                </a:lnTo>
                <a:lnTo>
                  <a:pt x="2244072" y="1513728"/>
                </a:lnTo>
                <a:lnTo>
                  <a:pt x="0" y="1513728"/>
                </a:lnTo>
                <a:lnTo>
                  <a:pt x="0" y="0"/>
                </a:lnTo>
                <a:close/>
              </a:path>
            </a:pathLst>
          </a:custGeom>
          <a:blipFill>
            <a:blip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 sz="1200">
              <a:solidFill>
                <a:schemeClr val="bg1"/>
              </a:solidFill>
            </a:endParaRPr>
          </a:p>
        </p:txBody>
      </p:sp>
      <p:pic>
        <p:nvPicPr>
          <p:cNvPr id="7" name="Picture 6" descr="Bar_RtAngle_7502_RGB.png">
            <a:extLst>
              <a:ext uri="{FF2B5EF4-FFF2-40B4-BE49-F238E27FC236}">
                <a16:creationId xmlns:a16="http://schemas.microsoft.com/office/drawing/2014/main" id="{8D668986-9EA4-BED0-83F3-951F11B5DDB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32283" y="3124200"/>
            <a:ext cx="2667995" cy="166375"/>
          </a:xfrm>
          <a:prstGeom prst="rect">
            <a:avLst/>
          </a:prstGeom>
        </p:spPr>
      </p:pic>
      <p:pic>
        <p:nvPicPr>
          <p:cNvPr id="8" name="Picture 7" descr="Bar_RtAngle_7502_RGB.png">
            <a:extLst>
              <a:ext uri="{FF2B5EF4-FFF2-40B4-BE49-F238E27FC236}">
                <a16:creationId xmlns:a16="http://schemas.microsoft.com/office/drawing/2014/main" id="{C375094C-DCA2-6D97-2BB5-2087E2166CD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3439241" y="3124200"/>
            <a:ext cx="2667995" cy="166375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01600" y="6527800"/>
            <a:ext cx="457200" cy="243417"/>
          </a:xfrm>
        </p:spPr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805796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82033"/>
            <a:ext cx="2005542" cy="774700"/>
          </a:xfrm>
        </p:spPr>
        <p:txBody>
          <a:bodyPr anchor="b"/>
          <a:lstStyle>
            <a:lvl1pPr algn="l">
              <a:defRPr sz="1333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383367" y="182034"/>
            <a:ext cx="3407833" cy="3902075"/>
          </a:xfr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333"/>
            </a:lvl4pPr>
            <a:lvl5pPr>
              <a:defRPr sz="1333"/>
            </a:lvl5pPr>
            <a:lvl6pPr>
              <a:defRPr sz="1333"/>
            </a:lvl6pPr>
            <a:lvl7pPr>
              <a:defRPr sz="1333"/>
            </a:lvl7pPr>
            <a:lvl8pPr>
              <a:defRPr sz="1333"/>
            </a:lvl8pPr>
            <a:lvl9pPr>
              <a:defRPr sz="13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04800" y="956734"/>
            <a:ext cx="2005542" cy="3127375"/>
          </a:xfrm>
        </p:spPr>
        <p:txBody>
          <a:bodyPr/>
          <a:lstStyle>
            <a:lvl1pPr marL="0" indent="0">
              <a:buNone/>
              <a:defRPr sz="933"/>
            </a:lvl1pPr>
            <a:lvl2pPr marL="304815" indent="0">
              <a:buNone/>
              <a:defRPr sz="800"/>
            </a:lvl2pPr>
            <a:lvl3pPr marL="609630" indent="0">
              <a:buNone/>
              <a:defRPr sz="667"/>
            </a:lvl3pPr>
            <a:lvl4pPr marL="914446" indent="0">
              <a:buNone/>
              <a:defRPr sz="600"/>
            </a:lvl4pPr>
            <a:lvl5pPr marL="1219261" indent="0">
              <a:buNone/>
              <a:defRPr sz="600"/>
            </a:lvl5pPr>
            <a:lvl6pPr marL="1524076" indent="0">
              <a:buNone/>
              <a:defRPr sz="600"/>
            </a:lvl6pPr>
            <a:lvl7pPr marL="1828891" indent="0">
              <a:buNone/>
              <a:defRPr sz="600"/>
            </a:lvl7pPr>
            <a:lvl8pPr marL="2133707" indent="0">
              <a:buNone/>
              <a:defRPr sz="600"/>
            </a:lvl8pPr>
            <a:lvl9pPr marL="2438522" indent="0">
              <a:buNone/>
              <a:defRPr sz="6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7/202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602837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4859" y="3200400"/>
            <a:ext cx="3657600" cy="377825"/>
          </a:xfrm>
        </p:spPr>
        <p:txBody>
          <a:bodyPr anchor="b"/>
          <a:lstStyle>
            <a:lvl1pPr algn="l">
              <a:defRPr sz="1333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194859" y="408517"/>
            <a:ext cx="3657600" cy="2743200"/>
          </a:xfrm>
        </p:spPr>
        <p:txBody>
          <a:bodyPr/>
          <a:lstStyle>
            <a:lvl1pPr marL="0" indent="0">
              <a:buNone/>
              <a:defRPr sz="2133"/>
            </a:lvl1pPr>
            <a:lvl2pPr marL="304815" indent="0">
              <a:buNone/>
              <a:defRPr sz="1867"/>
            </a:lvl2pPr>
            <a:lvl3pPr marL="609630" indent="0">
              <a:buNone/>
              <a:defRPr sz="1600"/>
            </a:lvl3pPr>
            <a:lvl4pPr marL="914446" indent="0">
              <a:buNone/>
              <a:defRPr sz="1333"/>
            </a:lvl4pPr>
            <a:lvl5pPr marL="1219261" indent="0">
              <a:buNone/>
              <a:defRPr sz="1333"/>
            </a:lvl5pPr>
            <a:lvl6pPr marL="1524076" indent="0">
              <a:buNone/>
              <a:defRPr sz="1333"/>
            </a:lvl6pPr>
            <a:lvl7pPr marL="1828891" indent="0">
              <a:buNone/>
              <a:defRPr sz="1333"/>
            </a:lvl7pPr>
            <a:lvl8pPr marL="2133707" indent="0">
              <a:buNone/>
              <a:defRPr sz="1333"/>
            </a:lvl8pPr>
            <a:lvl9pPr marL="2438522" indent="0">
              <a:buNone/>
              <a:defRPr sz="1333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94859" y="3578225"/>
            <a:ext cx="3657600" cy="536575"/>
          </a:xfrm>
        </p:spPr>
        <p:txBody>
          <a:bodyPr/>
          <a:lstStyle>
            <a:lvl1pPr marL="0" indent="0">
              <a:buNone/>
              <a:defRPr sz="933"/>
            </a:lvl1pPr>
            <a:lvl2pPr marL="304815" indent="0">
              <a:buNone/>
              <a:defRPr sz="800"/>
            </a:lvl2pPr>
            <a:lvl3pPr marL="609630" indent="0">
              <a:buNone/>
              <a:defRPr sz="667"/>
            </a:lvl3pPr>
            <a:lvl4pPr marL="914446" indent="0">
              <a:buNone/>
              <a:defRPr sz="600"/>
            </a:lvl4pPr>
            <a:lvl5pPr marL="1219261" indent="0">
              <a:buNone/>
              <a:defRPr sz="600"/>
            </a:lvl5pPr>
            <a:lvl6pPr marL="1524076" indent="0">
              <a:buNone/>
              <a:defRPr sz="600"/>
            </a:lvl6pPr>
            <a:lvl7pPr marL="1828891" indent="0">
              <a:buNone/>
              <a:defRPr sz="600"/>
            </a:lvl7pPr>
            <a:lvl8pPr marL="2133707" indent="0">
              <a:buNone/>
              <a:defRPr sz="600"/>
            </a:lvl8pPr>
            <a:lvl9pPr marL="2438522" indent="0">
              <a:buNone/>
              <a:defRPr sz="6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7/202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269537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7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462074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419600" y="183092"/>
            <a:ext cx="1371600" cy="3901017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04800" y="183092"/>
            <a:ext cx="4013200" cy="390101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7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419832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Header +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4C5A0927-B3F0-8E6A-04B5-655120DD8B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381003"/>
            <a:ext cx="11277600" cy="609599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3200" b="1" i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(ENCODE NORMAL BLACK, 24 PT.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9AA99A3-F3A9-EC2F-FEFD-5D2A8CE25D3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99035" y="997528"/>
            <a:ext cx="1471708" cy="12848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EC981914-7401-BE90-F72B-9038B262805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66505" y="6184126"/>
            <a:ext cx="1000807" cy="6738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634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64">
          <p15:clr>
            <a:srgbClr val="FBAE40"/>
          </p15:clr>
        </p15:guide>
        <p15:guide id="2" pos="216">
          <p15:clr>
            <a:srgbClr val="FBAE40"/>
          </p15:clr>
        </p15:guide>
        <p15:guide id="3" pos="5544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Header + Sub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1201" y="6354234"/>
            <a:ext cx="3386667" cy="266700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E77D61B4-469C-47C3-8574-36BA7739E5E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00081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742507" y="845229"/>
            <a:ext cx="10515600" cy="549275"/>
          </a:xfrm>
          <a:prstGeom prst="rect">
            <a:avLst/>
          </a:prstGeom>
        </p:spPr>
        <p:txBody>
          <a:bodyPr/>
          <a:lstStyle>
            <a:lvl1pPr>
              <a:defRPr sz="3600">
                <a:solidFill>
                  <a:schemeClr val="tx1"/>
                </a:solidFill>
                <a:latin typeface="Garamond" charset="0"/>
                <a:ea typeface="Garamond" charset="0"/>
                <a:cs typeface="Garamond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idx="11" hasCustomPrompt="1"/>
          </p:nvPr>
        </p:nvSpPr>
        <p:spPr>
          <a:xfrm>
            <a:off x="742508" y="483332"/>
            <a:ext cx="4645246" cy="361897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100" b="1">
                <a:solidFill>
                  <a:schemeClr val="bg1">
                    <a:lumMod val="7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 marL="457223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6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9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1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33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56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78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1813841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7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031097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+ Sub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895678" y="371516"/>
            <a:ext cx="10912883" cy="569523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lnSpc>
                <a:spcPct val="90000"/>
              </a:lnSpc>
              <a:buNone/>
              <a:defRPr sz="3000" b="0" i="0" baseline="0">
                <a:solidFill>
                  <a:srgbClr val="4B2E83"/>
                </a:solidFill>
                <a:latin typeface="Encode Sans Normal Black"/>
                <a:cs typeface="Encode Sans Normal Black"/>
              </a:defRPr>
            </a:lvl1pPr>
            <a:lvl2pPr marL="45721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14423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371635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828845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HEADER HERE </a:t>
            </a:r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879077" y="1719586"/>
            <a:ext cx="10929485" cy="4410745"/>
          </a:xfrm>
          <a:prstGeom prst="rect">
            <a:avLst/>
          </a:prstGeom>
        </p:spPr>
        <p:txBody>
          <a:bodyPr/>
          <a:lstStyle>
            <a:lvl1pPr marL="342908" indent="-342908">
              <a:buFont typeface="Lucida Grande"/>
              <a:buChar char="&gt;"/>
              <a:defRPr sz="2400" b="1" i="0" baseline="0">
                <a:solidFill>
                  <a:srgbClr val="4B2E83"/>
                </a:solidFill>
                <a:latin typeface="Open Sans"/>
                <a:cs typeface="Open Sans"/>
              </a:defRPr>
            </a:lvl1pPr>
            <a:lvl2pPr>
              <a:defRPr sz="2000" b="1" i="0" baseline="0">
                <a:solidFill>
                  <a:srgbClr val="4B2E83"/>
                </a:solidFill>
                <a:latin typeface="Open Sans"/>
                <a:cs typeface="Open Sans"/>
              </a:defRPr>
            </a:lvl2pPr>
            <a:lvl3pPr marL="1143028" indent="-228605">
              <a:buSzPct val="100000"/>
              <a:buFont typeface="Lucida Grande"/>
              <a:buChar char="&gt;"/>
              <a:defRPr sz="1800" b="1" i="0" baseline="0">
                <a:solidFill>
                  <a:srgbClr val="4B2E83"/>
                </a:solidFill>
                <a:latin typeface="Open Sans"/>
                <a:cs typeface="Open Sans"/>
              </a:defRPr>
            </a:lvl3pPr>
            <a:lvl4pPr>
              <a:defRPr sz="1600" b="1" i="0" baseline="0">
                <a:solidFill>
                  <a:srgbClr val="4B2E83"/>
                </a:solidFill>
                <a:latin typeface="Open Sans"/>
                <a:cs typeface="Open Sans"/>
              </a:defRPr>
            </a:lvl4pPr>
            <a:lvl5pPr marL="2057452" indent="-228605">
              <a:buFont typeface="Lucida Grande"/>
              <a:buChar char="&gt;"/>
              <a:defRPr sz="1400" b="1" i="0" baseline="0">
                <a:solidFill>
                  <a:srgbClr val="4B2E83"/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 Bold, 20)</a:t>
            </a:r>
          </a:p>
          <a:p>
            <a:pPr lvl="2"/>
            <a:r>
              <a:rPr lang="en-US"/>
              <a:t>Third level (Open Sans Bold, 18)</a:t>
            </a:r>
          </a:p>
          <a:p>
            <a:pPr lvl="3"/>
            <a:r>
              <a:rPr lang="en-US"/>
              <a:t>Fourth level (Open Sans Bold, 16)</a:t>
            </a:r>
          </a:p>
          <a:p>
            <a:pPr lvl="4"/>
            <a:r>
              <a:rPr lang="en-US"/>
              <a:t>Fifth level (Open Sans Bold, 14)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895678" y="1198011"/>
            <a:ext cx="10912883" cy="41117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2400" b="0" i="0" baseline="0">
                <a:solidFill>
                  <a:srgbClr val="4B2E83"/>
                </a:solidFill>
                <a:latin typeface="Uni Sans Regular"/>
                <a:cs typeface="Uni Sans Regular"/>
              </a:defRPr>
            </a:lvl1pPr>
            <a:lvl2pPr marL="45721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14423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371635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828845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LIGHT, 24 PT.)</a:t>
            </a:r>
          </a:p>
        </p:txBody>
      </p:sp>
      <p:pic>
        <p:nvPicPr>
          <p:cNvPr id="9" name="Picture 8" descr="Wordmark_center_Purple_HEX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9544" y="6487458"/>
            <a:ext cx="3233727" cy="163374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E77D61B4-469C-47C3-8574-36BA7739E5E1}" type="slidenum">
              <a:rPr lang="en-US" smtClean="0"/>
              <a:t>‹#›</a:t>
            </a:fld>
            <a:endParaRPr lang="en-US"/>
          </a:p>
        </p:txBody>
      </p:sp>
      <p:pic>
        <p:nvPicPr>
          <p:cNvPr id="5" name="Picture 4" descr="Bar_RtAngle_7502_RGB.png">
            <a:extLst>
              <a:ext uri="{FF2B5EF4-FFF2-40B4-BE49-F238E27FC236}">
                <a16:creationId xmlns:a16="http://schemas.microsoft.com/office/drawing/2014/main" id="{406E625B-59E0-A69F-6C44-1510BA89F22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895678" y="943731"/>
            <a:ext cx="5893723" cy="1077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028780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895676" y="1167124"/>
            <a:ext cx="9296400" cy="2641756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buNone/>
              <a:defRPr sz="5000" b="0" i="0" baseline="0">
                <a:solidFill>
                  <a:srgbClr val="4B2E83"/>
                </a:solidFill>
                <a:latin typeface="Encode Sans Normal Black"/>
                <a:cs typeface="Encode Sans Normal Black"/>
              </a:defRPr>
            </a:lvl1pPr>
            <a:lvl2pPr marL="45721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14423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371635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828845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TITLE HERE</a:t>
            </a:r>
          </a:p>
          <a:p>
            <a:pPr lvl="0"/>
            <a:r>
              <a:rPr lang="en-US"/>
              <a:t>ENCODE NORMAL</a:t>
            </a:r>
          </a:p>
          <a:p>
            <a:pPr lvl="0"/>
            <a:r>
              <a:rPr lang="en-US"/>
              <a:t>BLACK, 50 PT. </a:t>
            </a:r>
          </a:p>
        </p:txBody>
      </p:sp>
      <p:pic>
        <p:nvPicPr>
          <p:cNvPr id="8" name="Picture 7" descr="W Logo_Purple_2685_HEX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30852" y="5949410"/>
            <a:ext cx="1828800" cy="923544"/>
          </a:xfrm>
          <a:prstGeom prst="rect">
            <a:avLst/>
          </a:prstGeom>
        </p:spPr>
      </p:pic>
      <p:pic>
        <p:nvPicPr>
          <p:cNvPr id="9" name="Picture 8" descr="Wordmark_center_Purple_HEX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056" y="6487458"/>
            <a:ext cx="3233727" cy="163374"/>
          </a:xfrm>
          <a:prstGeom prst="rect">
            <a:avLst/>
          </a:prstGeom>
        </p:spPr>
      </p:pic>
      <p:pic>
        <p:nvPicPr>
          <p:cNvPr id="6" name="Picture 5" descr="Bar_RtAngle_7502_RGB.pn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787" y="4006086"/>
            <a:ext cx="3045737" cy="1127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577372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er + Sub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895678" y="237809"/>
            <a:ext cx="10912883" cy="503623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lnSpc>
                <a:spcPct val="90000"/>
              </a:lnSpc>
              <a:buNone/>
              <a:defRPr sz="3000" b="0" i="0" baseline="0">
                <a:solidFill>
                  <a:srgbClr val="4B2E83"/>
                </a:solidFill>
                <a:latin typeface="Encode Sans Normal Black"/>
                <a:cs typeface="Encode Sans Normal Black"/>
              </a:defRPr>
            </a:lvl1pPr>
            <a:lvl2pPr marL="45721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14423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371635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828845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HEADER HERE </a:t>
            </a:r>
          </a:p>
          <a:p>
            <a:pPr lvl="0"/>
            <a:r>
              <a:rPr lang="en-US"/>
              <a:t>(ENCODE NORMAL BLACK, 30 PT.)</a:t>
            </a:r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879077" y="1597899"/>
            <a:ext cx="10929485" cy="4532429"/>
          </a:xfrm>
          <a:prstGeom prst="rect">
            <a:avLst/>
          </a:prstGeom>
        </p:spPr>
        <p:txBody>
          <a:bodyPr/>
          <a:lstStyle>
            <a:lvl1pPr marL="342908" indent="-342908">
              <a:buFont typeface="Lucida Grande"/>
              <a:buChar char="&gt;"/>
              <a:defRPr sz="2400" b="1" i="0" baseline="0">
                <a:solidFill>
                  <a:srgbClr val="4B2E83"/>
                </a:solidFill>
                <a:latin typeface="Open Sans"/>
                <a:cs typeface="Open Sans"/>
              </a:defRPr>
            </a:lvl1pPr>
            <a:lvl2pPr>
              <a:defRPr sz="2000" b="1" i="0" baseline="0">
                <a:solidFill>
                  <a:srgbClr val="4B2E83"/>
                </a:solidFill>
                <a:latin typeface="Open Sans"/>
                <a:cs typeface="Open Sans"/>
              </a:defRPr>
            </a:lvl2pPr>
            <a:lvl3pPr marL="1143028" indent="-228605">
              <a:buSzPct val="100000"/>
              <a:buFont typeface="Lucida Grande"/>
              <a:buChar char="&gt;"/>
              <a:defRPr sz="1800" b="1" i="0" baseline="0">
                <a:solidFill>
                  <a:srgbClr val="4B2E83"/>
                </a:solidFill>
                <a:latin typeface="Open Sans"/>
                <a:cs typeface="Open Sans"/>
              </a:defRPr>
            </a:lvl3pPr>
            <a:lvl4pPr>
              <a:defRPr sz="1600" b="1" i="0" baseline="0">
                <a:solidFill>
                  <a:srgbClr val="4B2E83"/>
                </a:solidFill>
                <a:latin typeface="Open Sans"/>
                <a:cs typeface="Open Sans"/>
              </a:defRPr>
            </a:lvl4pPr>
            <a:lvl5pPr marL="2057452" indent="-228605">
              <a:buFont typeface="Lucida Grande"/>
              <a:buChar char="&gt;"/>
              <a:defRPr sz="1400" b="1" i="0" baseline="0">
                <a:solidFill>
                  <a:srgbClr val="4B2E83"/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 Bold, 20)</a:t>
            </a:r>
          </a:p>
          <a:p>
            <a:pPr lvl="2"/>
            <a:r>
              <a:rPr lang="en-US"/>
              <a:t>Third level (Open Sans Bold, 18)</a:t>
            </a:r>
          </a:p>
          <a:p>
            <a:pPr lvl="3"/>
            <a:r>
              <a:rPr lang="en-US"/>
              <a:t>Fourth level (Open Sans Bold, 16)</a:t>
            </a:r>
          </a:p>
          <a:p>
            <a:pPr lvl="4"/>
            <a:r>
              <a:rPr lang="en-US"/>
              <a:t>Fifth level (Open Sans Bold, 14)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879075" y="1060648"/>
            <a:ext cx="10864193" cy="41117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2400" b="0" i="0" baseline="0">
                <a:solidFill>
                  <a:srgbClr val="4B2E83"/>
                </a:solidFill>
                <a:latin typeface="Uni Sans Regular"/>
                <a:cs typeface="Uni Sans Regular"/>
              </a:defRPr>
            </a:lvl1pPr>
            <a:lvl2pPr marL="45721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14423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371635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828845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LIGHT, 24 PT.)</a:t>
            </a:r>
          </a:p>
        </p:txBody>
      </p:sp>
      <p:pic>
        <p:nvPicPr>
          <p:cNvPr id="9" name="Picture 8" descr="Wordmark_center_Purple_HEX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9544" y="6487458"/>
            <a:ext cx="3233727" cy="163374"/>
          </a:xfrm>
          <a:prstGeom prst="rect">
            <a:avLst/>
          </a:prstGeom>
        </p:spPr>
      </p:pic>
      <p:pic>
        <p:nvPicPr>
          <p:cNvPr id="8" name="Picture 7" descr="Bar_RtAngle_7502_RGB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285" y="867509"/>
            <a:ext cx="1810912" cy="67050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E77D61B4-469C-47C3-8574-36BA7739E5E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564049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895678" y="371516"/>
            <a:ext cx="10912883" cy="418603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lnSpc>
                <a:spcPct val="90000"/>
              </a:lnSpc>
              <a:buNone/>
              <a:defRPr sz="3000" b="0" i="0" baseline="0">
                <a:solidFill>
                  <a:srgbClr val="4B2E83"/>
                </a:solidFill>
                <a:latin typeface="Encode Sans Normal Black"/>
                <a:cs typeface="Encode Sans Normal Black"/>
              </a:defRPr>
            </a:lvl1pPr>
            <a:lvl2pPr marL="45721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14423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371635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828845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HEADER HERE </a:t>
            </a:r>
          </a:p>
          <a:p>
            <a:pPr lvl="0"/>
            <a:r>
              <a:rPr lang="en-US"/>
              <a:t>(ENCODE NORMAL BLACK, 30 PT.)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879073" y="1154097"/>
            <a:ext cx="10928280" cy="4598125"/>
          </a:xfrm>
          <a:prstGeom prst="rect">
            <a:avLst/>
          </a:prstGeom>
        </p:spPr>
        <p:txBody>
          <a:bodyPr/>
          <a:lstStyle>
            <a:lvl1pPr marL="342908" indent="-342908">
              <a:buFont typeface="Lucida Grande"/>
              <a:buChar char="&gt;"/>
              <a:defRPr sz="2400" b="1" i="0" baseline="0">
                <a:solidFill>
                  <a:srgbClr val="4B2E83"/>
                </a:solidFill>
                <a:latin typeface="Open Sans"/>
                <a:cs typeface="Open Sans"/>
              </a:defRPr>
            </a:lvl1pPr>
            <a:lvl2pPr>
              <a:defRPr sz="2000" b="1" i="0" baseline="0">
                <a:solidFill>
                  <a:srgbClr val="4B2E83"/>
                </a:solidFill>
                <a:latin typeface="Open Sans"/>
                <a:cs typeface="Open Sans"/>
              </a:defRPr>
            </a:lvl2pPr>
            <a:lvl3pPr marL="1143028" indent="-228605">
              <a:buSzPct val="100000"/>
              <a:buFont typeface="Lucida Grande"/>
              <a:buChar char="&gt;"/>
              <a:defRPr sz="1800" b="1" i="0" baseline="0">
                <a:solidFill>
                  <a:srgbClr val="4B2E83"/>
                </a:solidFill>
                <a:latin typeface="Open Sans"/>
                <a:cs typeface="Open Sans"/>
              </a:defRPr>
            </a:lvl3pPr>
            <a:lvl4pPr>
              <a:defRPr sz="1600" b="1" i="0" baseline="0">
                <a:solidFill>
                  <a:srgbClr val="4B2E83"/>
                </a:solidFill>
                <a:latin typeface="Open Sans"/>
                <a:cs typeface="Open Sans"/>
              </a:defRPr>
            </a:lvl4pPr>
            <a:lvl5pPr marL="2057452" indent="-228605">
              <a:buFont typeface="Lucida Grande"/>
              <a:buChar char="&gt;"/>
              <a:defRPr sz="1400" b="1" i="0" baseline="0">
                <a:solidFill>
                  <a:srgbClr val="4B2E83"/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 Bold, 20)</a:t>
            </a:r>
          </a:p>
          <a:p>
            <a:pPr lvl="2"/>
            <a:r>
              <a:rPr lang="en-US"/>
              <a:t>Third level (Open Sans Bold, 18)</a:t>
            </a:r>
          </a:p>
          <a:p>
            <a:pPr lvl="3"/>
            <a:r>
              <a:rPr lang="en-US"/>
              <a:t>Fourth level (Open Sans Bold, 16)</a:t>
            </a:r>
          </a:p>
          <a:p>
            <a:pPr lvl="4"/>
            <a:r>
              <a:rPr lang="en-US"/>
              <a:t>Fifth level (Open Sans Bold, 14)</a:t>
            </a:r>
          </a:p>
        </p:txBody>
      </p:sp>
      <p:pic>
        <p:nvPicPr>
          <p:cNvPr id="9" name="Picture 8" descr="W Logo_Purple_2685_HEX.png"/>
          <p:cNvPicPr>
            <a:picLocks noChangeAspect="1"/>
          </p:cNvPicPr>
          <p:nvPr userDrawn="1"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30852" y="5949410"/>
            <a:ext cx="1828800" cy="923544"/>
          </a:xfrm>
          <a:prstGeom prst="rect">
            <a:avLst/>
          </a:prstGeom>
        </p:spPr>
      </p:pic>
      <p:pic>
        <p:nvPicPr>
          <p:cNvPr id="7" name="Picture 6" descr="Bar_RtAngle_7502_RGB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879074" y="682408"/>
            <a:ext cx="5893723" cy="107710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7D61B4-469C-47C3-8574-36BA7739E5E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774030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+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hart Placeholder 11"/>
          <p:cNvSpPr>
            <a:spLocks noGrp="1"/>
          </p:cNvSpPr>
          <p:nvPr>
            <p:ph type="chart" sz="quarter" idx="12" hasCustomPrompt="1"/>
          </p:nvPr>
        </p:nvSpPr>
        <p:spPr>
          <a:xfrm>
            <a:off x="1022351" y="1736725"/>
            <a:ext cx="10695516" cy="4432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0" i="1" baseline="0">
                <a:solidFill>
                  <a:srgbClr val="999999"/>
                </a:solidFill>
                <a:latin typeface="Open Sans Light"/>
                <a:cs typeface="Open Sans Light"/>
              </a:defRPr>
            </a:lvl1pPr>
          </a:lstStyle>
          <a:p>
            <a:r>
              <a:rPr lang="en-US"/>
              <a:t>Graphics can go here – </a:t>
            </a:r>
            <a:br>
              <a:rPr lang="en-US"/>
            </a:br>
            <a:r>
              <a:rPr lang="en-US"/>
              <a:t>replace this box with your image or chart</a:t>
            </a:r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895678" y="371510"/>
            <a:ext cx="10912883" cy="991998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lnSpc>
                <a:spcPct val="90000"/>
              </a:lnSpc>
              <a:buNone/>
              <a:defRPr sz="3000" b="0" i="0" baseline="0">
                <a:solidFill>
                  <a:srgbClr val="4B2E83"/>
                </a:solidFill>
                <a:latin typeface="Encode Sans Normal Black"/>
                <a:cs typeface="Encode Sans Normal Black"/>
              </a:defRPr>
            </a:lvl1pPr>
            <a:lvl2pPr marL="45721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14423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371635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828845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HEADER HERE </a:t>
            </a:r>
          </a:p>
          <a:p>
            <a:pPr lvl="0"/>
            <a:r>
              <a:rPr lang="en-US"/>
              <a:t>(ENCODE NORMAL BLACK, 30 PT.)</a:t>
            </a:r>
          </a:p>
        </p:txBody>
      </p:sp>
      <p:pic>
        <p:nvPicPr>
          <p:cNvPr id="7" name="Picture 6" descr="Wordmark_center_Purple_HEX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84144" y="6487458"/>
            <a:ext cx="3233727" cy="163374"/>
          </a:xfrm>
          <a:prstGeom prst="rect">
            <a:avLst/>
          </a:prstGeom>
        </p:spPr>
      </p:pic>
      <p:pic>
        <p:nvPicPr>
          <p:cNvPr id="6" name="Picture 5" descr="Bar_RtAngle_7502_RGB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5633" y="1437806"/>
            <a:ext cx="1810912" cy="67050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E77D61B4-469C-47C3-8574-36BA7739E5E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05254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eader + Sub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895678" y="371510"/>
            <a:ext cx="10912883" cy="991998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lnSpc>
                <a:spcPct val="90000"/>
              </a:lnSpc>
              <a:buNone/>
              <a:defRPr sz="3000" b="0" i="0" baseline="0">
                <a:solidFill>
                  <a:srgbClr val="FFFFFF"/>
                </a:solidFill>
                <a:latin typeface="Encode Sans Normal Black"/>
                <a:cs typeface="Encode Sans Normal Black"/>
              </a:defRPr>
            </a:lvl1pPr>
            <a:lvl2pPr marL="45721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14423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371635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828845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HEADER HERE </a:t>
            </a:r>
          </a:p>
          <a:p>
            <a:pPr lvl="0"/>
            <a:r>
              <a:rPr lang="en-US"/>
              <a:t>(ENCODE NORMAL BLACK, 30 PT.)</a:t>
            </a:r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879077" y="2320240"/>
            <a:ext cx="10929485" cy="3810086"/>
          </a:xfrm>
          <a:prstGeom prst="rect">
            <a:avLst/>
          </a:prstGeom>
        </p:spPr>
        <p:txBody>
          <a:bodyPr/>
          <a:lstStyle>
            <a:lvl1pPr marL="342908" indent="-342908">
              <a:buFont typeface="Lucida Grande"/>
              <a:buChar char="&gt;"/>
              <a:defRPr sz="2400" b="1" i="0" baseline="0">
                <a:solidFill>
                  <a:srgbClr val="FFFFFF"/>
                </a:solidFill>
                <a:latin typeface="Open Sans"/>
                <a:cs typeface="Open Sans"/>
              </a:defRPr>
            </a:lvl1pPr>
            <a:lvl2pPr>
              <a:defRPr sz="2000" b="1" i="0" baseline="0">
                <a:solidFill>
                  <a:srgbClr val="FFFFFF"/>
                </a:solidFill>
                <a:latin typeface="Open Sans"/>
                <a:cs typeface="Open Sans"/>
              </a:defRPr>
            </a:lvl2pPr>
            <a:lvl3pPr marL="1143028" indent="-228605">
              <a:buSzPct val="100000"/>
              <a:buFont typeface="Lucida Grande"/>
              <a:buChar char="&gt;"/>
              <a:defRPr sz="1800" b="1" i="0" baseline="0">
                <a:solidFill>
                  <a:srgbClr val="FFFFFF"/>
                </a:solidFill>
                <a:latin typeface="Open Sans"/>
                <a:cs typeface="Open Sans"/>
              </a:defRPr>
            </a:lvl3pPr>
            <a:lvl4pPr>
              <a:defRPr sz="1600" b="1" i="0" baseline="0">
                <a:solidFill>
                  <a:srgbClr val="FFFFFF"/>
                </a:solidFill>
                <a:latin typeface="Open Sans"/>
                <a:cs typeface="Open Sans"/>
              </a:defRPr>
            </a:lvl4pPr>
            <a:lvl5pPr marL="2057452" indent="-228605">
              <a:buFont typeface="Lucida Grande"/>
              <a:buChar char="&gt;"/>
              <a:defRPr sz="1400" b="1" i="0" baseline="0">
                <a:solidFill>
                  <a:srgbClr val="FFFFFF"/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 Bold, 20)</a:t>
            </a:r>
          </a:p>
          <a:p>
            <a:pPr lvl="2"/>
            <a:r>
              <a:rPr lang="en-US"/>
              <a:t>Third level (Open Sans Bold, 18)</a:t>
            </a:r>
          </a:p>
          <a:p>
            <a:pPr lvl="3"/>
            <a:r>
              <a:rPr lang="en-US"/>
              <a:t>Fourth level (Open Sans Bold, 16)</a:t>
            </a:r>
          </a:p>
          <a:p>
            <a:pPr lvl="4"/>
            <a:r>
              <a:rPr lang="en-US"/>
              <a:t>Fifth level (Open Sans Bold, 14)</a:t>
            </a:r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895678" y="1730668"/>
            <a:ext cx="10912883" cy="41117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2400" b="0" i="0" baseline="0">
                <a:solidFill>
                  <a:srgbClr val="FFFFFF"/>
                </a:solidFill>
                <a:latin typeface="Uni Sans Regular"/>
                <a:cs typeface="Uni Sans Regular"/>
              </a:defRPr>
            </a:lvl1pPr>
            <a:lvl2pPr marL="45721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14423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371635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828845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	, 24 PT.)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1202" y="6354234"/>
            <a:ext cx="3386667" cy="266700"/>
          </a:xfrm>
          <a:prstGeom prst="rect">
            <a:avLst/>
          </a:prstGeom>
        </p:spPr>
      </p:pic>
      <p:pic>
        <p:nvPicPr>
          <p:cNvPr id="8" name="Picture 7" descr="Bar_RtAngle_7502_RGB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5633" y="1437806"/>
            <a:ext cx="1810912" cy="67050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E77D61B4-469C-47C3-8574-36BA7739E5E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804053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er + Content">
    <p:bg>
      <p:bgPr>
        <a:solidFill>
          <a:srgbClr val="4B2E8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UW_W Logo_Whit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27753" y="5945854"/>
            <a:ext cx="1828800" cy="923544"/>
          </a:xfrm>
          <a:prstGeom prst="rect">
            <a:avLst/>
          </a:prstGeom>
        </p:spPr>
      </p:pic>
      <p:sp>
        <p:nvSpPr>
          <p:cNvPr id="3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895678" y="371510"/>
            <a:ext cx="10912883" cy="991998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lnSpc>
                <a:spcPct val="90000"/>
              </a:lnSpc>
              <a:buNone/>
              <a:defRPr sz="3000" b="0" i="0" baseline="0">
                <a:solidFill>
                  <a:srgbClr val="FFFFFF"/>
                </a:solidFill>
                <a:latin typeface="Encode Sans Normal Black"/>
                <a:cs typeface="Encode Sans Normal Black"/>
              </a:defRPr>
            </a:lvl1pPr>
            <a:lvl2pPr marL="45721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14423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371635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828845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HEADER HERE </a:t>
            </a:r>
          </a:p>
          <a:p>
            <a:pPr lvl="0"/>
            <a:r>
              <a:rPr lang="en-US"/>
              <a:t>(ENCODE NORMAL BLACK, 30 PT.)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879074" y="1736727"/>
            <a:ext cx="10769275" cy="4015497"/>
          </a:xfrm>
          <a:prstGeom prst="rect">
            <a:avLst/>
          </a:prstGeom>
        </p:spPr>
        <p:txBody>
          <a:bodyPr/>
          <a:lstStyle>
            <a:lvl1pPr marL="342908" indent="-342908">
              <a:buFont typeface="Lucida Grande"/>
              <a:buChar char="&gt;"/>
              <a:defRPr sz="2400" b="1" i="0" baseline="0">
                <a:solidFill>
                  <a:srgbClr val="FFFFFF"/>
                </a:solidFill>
                <a:latin typeface="Open Sans"/>
                <a:cs typeface="Open Sans"/>
              </a:defRPr>
            </a:lvl1pPr>
            <a:lvl2pPr>
              <a:defRPr sz="2000" b="1" i="0" baseline="0">
                <a:solidFill>
                  <a:srgbClr val="FFFFFF"/>
                </a:solidFill>
                <a:latin typeface="Open Sans"/>
                <a:cs typeface="Open Sans"/>
              </a:defRPr>
            </a:lvl2pPr>
            <a:lvl3pPr marL="1143028" indent="-228605">
              <a:buSzPct val="100000"/>
              <a:buFont typeface="Lucida Grande"/>
              <a:buChar char="&gt;"/>
              <a:defRPr sz="1800" b="1" i="0" baseline="0">
                <a:solidFill>
                  <a:srgbClr val="FFFFFF"/>
                </a:solidFill>
                <a:latin typeface="Open Sans"/>
                <a:cs typeface="Open Sans"/>
              </a:defRPr>
            </a:lvl3pPr>
            <a:lvl4pPr>
              <a:defRPr sz="1600" b="1" i="0" baseline="0">
                <a:solidFill>
                  <a:srgbClr val="FFFFFF"/>
                </a:solidFill>
                <a:latin typeface="Open Sans"/>
                <a:cs typeface="Open Sans"/>
              </a:defRPr>
            </a:lvl4pPr>
            <a:lvl5pPr marL="2057452" indent="-228605">
              <a:buFont typeface="Lucida Grande"/>
              <a:buChar char="&gt;"/>
              <a:defRPr sz="1400" b="1" i="0" baseline="0">
                <a:solidFill>
                  <a:srgbClr val="FFFFFF"/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en-US"/>
              <a:t>Bulleted content here (Open Sans Light, 24 pt.)</a:t>
            </a:r>
          </a:p>
          <a:p>
            <a:pPr lvl="1"/>
            <a:r>
              <a:rPr lang="en-US"/>
              <a:t>Second level (Open Sans Light, 20)</a:t>
            </a:r>
          </a:p>
          <a:p>
            <a:pPr lvl="2"/>
            <a:r>
              <a:rPr lang="en-US"/>
              <a:t>Third level (Open Sans Light, 18)</a:t>
            </a:r>
          </a:p>
          <a:p>
            <a:pPr lvl="3"/>
            <a:r>
              <a:rPr lang="en-US"/>
              <a:t>Fourth level (Open Sans Light, 16)</a:t>
            </a:r>
          </a:p>
          <a:p>
            <a:pPr lvl="4"/>
            <a:r>
              <a:rPr lang="en-US"/>
              <a:t>Fifth level (Open Sans Light, 14)</a:t>
            </a:r>
          </a:p>
        </p:txBody>
      </p:sp>
      <p:pic>
        <p:nvPicPr>
          <p:cNvPr id="8" name="Picture 7" descr="Bar_RtAngle_7502_RGB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5633" y="1437806"/>
            <a:ext cx="1810912" cy="67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37449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er + Graphic">
    <p:bg>
      <p:bgPr>
        <a:solidFill>
          <a:srgbClr val="4B2E8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1202" y="6354234"/>
            <a:ext cx="3386667" cy="266700"/>
          </a:xfrm>
          <a:prstGeom prst="rect">
            <a:avLst/>
          </a:prstGeom>
        </p:spPr>
      </p:pic>
      <p:sp>
        <p:nvSpPr>
          <p:cNvPr id="12" name="Chart Placeholder 11"/>
          <p:cNvSpPr>
            <a:spLocks noGrp="1"/>
          </p:cNvSpPr>
          <p:nvPr>
            <p:ph type="chart" sz="quarter" idx="12" hasCustomPrompt="1"/>
          </p:nvPr>
        </p:nvSpPr>
        <p:spPr>
          <a:xfrm>
            <a:off x="1022351" y="1736725"/>
            <a:ext cx="10695516" cy="4432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0" i="1" baseline="0">
                <a:solidFill>
                  <a:srgbClr val="FFFFFF"/>
                </a:solidFill>
                <a:latin typeface="Open Sans Light"/>
                <a:cs typeface="Open Sans Light"/>
              </a:defRPr>
            </a:lvl1pPr>
          </a:lstStyle>
          <a:p>
            <a:r>
              <a:rPr lang="en-US"/>
              <a:t>Graphics can go here – </a:t>
            </a:r>
            <a:br>
              <a:rPr lang="en-US"/>
            </a:br>
            <a:r>
              <a:rPr lang="en-US"/>
              <a:t>replace this box with your image or chart</a:t>
            </a:r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895678" y="371510"/>
            <a:ext cx="10912883" cy="991998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lnSpc>
                <a:spcPct val="90000"/>
              </a:lnSpc>
              <a:buNone/>
              <a:defRPr sz="3000" b="0" i="0" baseline="0">
                <a:solidFill>
                  <a:srgbClr val="FFFFFF"/>
                </a:solidFill>
                <a:latin typeface="Encode Sans Normal Black"/>
                <a:cs typeface="Encode Sans Normal Black"/>
              </a:defRPr>
            </a:lvl1pPr>
            <a:lvl2pPr marL="45721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14423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371635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828845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HEADER HERE </a:t>
            </a:r>
          </a:p>
          <a:p>
            <a:pPr lvl="0"/>
            <a:r>
              <a:rPr lang="en-US"/>
              <a:t>(ENCODE NORMAL BLACK, 30 PT.)</a:t>
            </a:r>
          </a:p>
        </p:txBody>
      </p:sp>
      <p:pic>
        <p:nvPicPr>
          <p:cNvPr id="8" name="Picture 7" descr="Bar_RtAngle_7502_RGB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5633" y="1437806"/>
            <a:ext cx="1810912" cy="67050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E77D61B4-469C-47C3-8574-36BA7739E5E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961864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32043" y="1818013"/>
            <a:ext cx="1471708" cy="128483"/>
          </a:xfrm>
          <a:prstGeom prst="rect">
            <a:avLst/>
          </a:prstGeom>
        </p:spPr>
      </p:pic>
      <p:pic>
        <p:nvPicPr>
          <p:cNvPr id="6" name="Picture 5" descr="W Logo_Purple_2685_HEX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78553" y="5626608"/>
            <a:ext cx="1828800" cy="1231392"/>
          </a:xfrm>
          <a:prstGeom prst="rect">
            <a:avLst/>
          </a:prstGeom>
        </p:spPr>
      </p:pic>
      <p:sp>
        <p:nvSpPr>
          <p:cNvPr id="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97233" y="2307558"/>
            <a:ext cx="10929485" cy="3154535"/>
          </a:xfrm>
          <a:prstGeom prst="rect">
            <a:avLst/>
          </a:prstGeom>
        </p:spPr>
        <p:txBody>
          <a:bodyPr/>
          <a:lstStyle>
            <a:lvl1pPr marL="342900" indent="-342900">
              <a:buFont typeface="Lucida Grande"/>
              <a:buChar char="&gt;"/>
              <a:defRPr sz="240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00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143000" indent="-228601">
              <a:buSzPct val="100000"/>
              <a:buFont typeface="Lucida Grande"/>
              <a:buChar char="&gt;"/>
              <a:defRPr sz="180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160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057400" indent="-228601">
              <a:buFont typeface="Lucida Grande"/>
              <a:buChar char="&gt;"/>
              <a:defRPr sz="140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 Bold, 20)</a:t>
            </a:r>
          </a:p>
          <a:p>
            <a:pPr lvl="2"/>
            <a:r>
              <a:rPr lang="en-US"/>
              <a:t>Third level (Open Sans Bold, 18)</a:t>
            </a:r>
          </a:p>
          <a:p>
            <a:pPr lvl="3"/>
            <a:r>
              <a:rPr lang="en-US"/>
              <a:t>Fourth level (Open Sans Bold, 16)</a:t>
            </a:r>
          </a:p>
          <a:p>
            <a:pPr lvl="4"/>
            <a:r>
              <a:rPr lang="en-US"/>
              <a:t>Fifth level (Open Sans Bold, 14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3834" y="494170"/>
            <a:ext cx="10912883" cy="1325033"/>
          </a:xfrm>
          <a:prstGeom prst="rect">
            <a:avLst/>
          </a:prstGeom>
        </p:spPr>
        <p:txBody>
          <a:bodyPr anchor="b"/>
          <a:lstStyle>
            <a:lvl1pPr algn="l">
              <a:defRPr sz="3000" b="1" i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  <a:br>
              <a:rPr lang="en-US"/>
            </a:br>
            <a:r>
              <a:rPr lang="en-US"/>
              <a:t>(ENCODE NORMAL BLACK, 30 PT.)</a:t>
            </a:r>
          </a:p>
        </p:txBody>
      </p:sp>
    </p:spTree>
    <p:extLst>
      <p:ext uri="{BB962C8B-B14F-4D97-AF65-F5344CB8AC3E}">
        <p14:creationId xmlns:p14="http://schemas.microsoft.com/office/powerpoint/2010/main" val="249755466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A0A638-C33A-4941-A3C8-F4F79B265B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9731A9B-BE8B-4AEC-9007-FA5B7983E42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585716E-1B4F-4938-903D-53E8279089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093829-9F9D-4A75-BBC8-79D7E0E36E7A}" type="datetimeFigureOut">
              <a:rPr lang="en-US" smtClean="0"/>
              <a:t>4/7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1791FB0-1979-4AB9-8426-FFF42C1442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E3A6F10-AAEF-4E93-AF9E-9D04286B46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D5236D-0F46-41E4-94B8-08F8408C87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890627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1542" y="2937934"/>
            <a:ext cx="5181600" cy="908050"/>
          </a:xfrm>
        </p:spPr>
        <p:txBody>
          <a:bodyPr anchor="t"/>
          <a:lstStyle>
            <a:lvl1pPr algn="l">
              <a:defRPr sz="2667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1542" y="1937809"/>
            <a:ext cx="5181600" cy="1000125"/>
          </a:xfrm>
        </p:spPr>
        <p:txBody>
          <a:bodyPr anchor="b"/>
          <a:lstStyle>
            <a:lvl1pPr marL="0" indent="0">
              <a:buNone/>
              <a:defRPr sz="1333">
                <a:solidFill>
                  <a:schemeClr val="tx1">
                    <a:tint val="75000"/>
                  </a:schemeClr>
                </a:solidFill>
              </a:defRPr>
            </a:lvl1pPr>
            <a:lvl2pPr marL="30481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2pPr>
            <a:lvl3pPr marL="609630" indent="0">
              <a:buNone/>
              <a:defRPr sz="1067">
                <a:solidFill>
                  <a:schemeClr val="tx1">
                    <a:tint val="75000"/>
                  </a:schemeClr>
                </a:solidFill>
              </a:defRPr>
            </a:lvl3pPr>
            <a:lvl4pPr marL="914446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4pPr>
            <a:lvl5pPr marL="1219261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5pPr>
            <a:lvl6pPr marL="1524076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6pPr>
            <a:lvl7pPr marL="1828891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7pPr>
            <a:lvl8pPr marL="2133707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8pPr>
            <a:lvl9pPr marL="2438522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7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475200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22706AFD-426B-CBA0-A4F0-24AB0055227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3714750"/>
          </a:xfrm>
          <a:prstGeom prst="rect">
            <a:avLst/>
          </a:prstGeom>
          <a:solidFill>
            <a:schemeClr val="accent3">
              <a:lumMod val="85000"/>
            </a:schemeClr>
          </a:solidFill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Place image here and add alt text under Review &gt; Check Accessibility &gt; Alt Text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895675" y="4392519"/>
            <a:ext cx="10646844" cy="1366891"/>
          </a:xfrm>
          <a:prstGeom prst="rect">
            <a:avLst/>
          </a:prstGeom>
        </p:spPr>
        <p:txBody>
          <a:bodyPr anchor="b"/>
          <a:lstStyle>
            <a:lvl1pPr algn="l">
              <a:defRPr sz="4000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BRAND POWERPOINT TEMPLATE 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AB0D0A70-D6D3-A71A-42EB-4FEA9FDF0982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045634" y="6460075"/>
            <a:ext cx="3213100" cy="161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219549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Picture Placeholder 52">
            <a:extLst>
              <a:ext uri="{FF2B5EF4-FFF2-40B4-BE49-F238E27FC236}">
                <a16:creationId xmlns:a16="http://schemas.microsoft.com/office/drawing/2014/main" id="{EB40FF54-42BA-F6A7-D32A-75F3D51769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1" y="-1"/>
            <a:ext cx="12192000" cy="6858000"/>
          </a:xfrm>
          <a:custGeom>
            <a:avLst/>
            <a:gdLst>
              <a:gd name="connsiteX0" fmla="*/ 1950338 w 9144000"/>
              <a:gd name="connsiteY0" fmla="*/ 6312915 h 6858000"/>
              <a:gd name="connsiteX1" fmla="*/ 1966975 w 9144000"/>
              <a:gd name="connsiteY1" fmla="*/ 6335902 h 6858000"/>
              <a:gd name="connsiteX2" fmla="*/ 1944242 w 9144000"/>
              <a:gd name="connsiteY2" fmla="*/ 6388353 h 6858000"/>
              <a:gd name="connsiteX3" fmla="*/ 1937638 w 9144000"/>
              <a:gd name="connsiteY3" fmla="*/ 6389750 h 6858000"/>
              <a:gd name="connsiteX4" fmla="*/ 1921001 w 9144000"/>
              <a:gd name="connsiteY4" fmla="*/ 6362826 h 6858000"/>
              <a:gd name="connsiteX5" fmla="*/ 1943226 w 9144000"/>
              <a:gd name="connsiteY5" fmla="*/ 6314566 h 6858000"/>
              <a:gd name="connsiteX6" fmla="*/ 1950084 w 9144000"/>
              <a:gd name="connsiteY6" fmla="*/ 6313042 h 6858000"/>
              <a:gd name="connsiteX7" fmla="*/ 1956816 w 9144000"/>
              <a:gd name="connsiteY7" fmla="*/ 6305550 h 6858000"/>
              <a:gd name="connsiteX8" fmla="*/ 1934083 w 9144000"/>
              <a:gd name="connsiteY8" fmla="*/ 6312789 h 6858000"/>
              <a:gd name="connsiteX9" fmla="*/ 1903857 w 9144000"/>
              <a:gd name="connsiteY9" fmla="*/ 6367653 h 6858000"/>
              <a:gd name="connsiteX10" fmla="*/ 1930400 w 9144000"/>
              <a:gd name="connsiteY10" fmla="*/ 6397371 h 6858000"/>
              <a:gd name="connsiteX11" fmla="*/ 1961642 w 9144000"/>
              <a:gd name="connsiteY11" fmla="*/ 6384036 h 6858000"/>
              <a:gd name="connsiteX12" fmla="*/ 1961769 w 9144000"/>
              <a:gd name="connsiteY12" fmla="*/ 6384036 h 6858000"/>
              <a:gd name="connsiteX13" fmla="*/ 1983740 w 9144000"/>
              <a:gd name="connsiteY13" fmla="*/ 6333617 h 6858000"/>
              <a:gd name="connsiteX14" fmla="*/ 1956816 w 9144000"/>
              <a:gd name="connsiteY14" fmla="*/ 6305550 h 6858000"/>
              <a:gd name="connsiteX15" fmla="*/ 2431414 w 9144000"/>
              <a:gd name="connsiteY15" fmla="*/ 6284976 h 6858000"/>
              <a:gd name="connsiteX16" fmla="*/ 2451861 w 9144000"/>
              <a:gd name="connsiteY16" fmla="*/ 6343904 h 6858000"/>
              <a:gd name="connsiteX17" fmla="*/ 2410205 w 9144000"/>
              <a:gd name="connsiteY17" fmla="*/ 6343904 h 6858000"/>
              <a:gd name="connsiteX18" fmla="*/ 1264158 w 9144000"/>
              <a:gd name="connsiteY18" fmla="*/ 6263894 h 6858000"/>
              <a:gd name="connsiteX19" fmla="*/ 1282319 w 9144000"/>
              <a:gd name="connsiteY19" fmla="*/ 6263894 h 6858000"/>
              <a:gd name="connsiteX20" fmla="*/ 1310894 w 9144000"/>
              <a:gd name="connsiteY20" fmla="*/ 6292342 h 6858000"/>
              <a:gd name="connsiteX21" fmla="*/ 1282319 w 9144000"/>
              <a:gd name="connsiteY21" fmla="*/ 6318631 h 6858000"/>
              <a:gd name="connsiteX22" fmla="*/ 1264158 w 9144000"/>
              <a:gd name="connsiteY22" fmla="*/ 6318631 h 6858000"/>
              <a:gd name="connsiteX23" fmla="*/ 3364103 w 9144000"/>
              <a:gd name="connsiteY23" fmla="*/ 6261100 h 6858000"/>
              <a:gd name="connsiteX24" fmla="*/ 3404489 w 9144000"/>
              <a:gd name="connsiteY24" fmla="*/ 6324473 h 6858000"/>
              <a:gd name="connsiteX25" fmla="*/ 3364103 w 9144000"/>
              <a:gd name="connsiteY25" fmla="*/ 6387846 h 6858000"/>
              <a:gd name="connsiteX26" fmla="*/ 3323844 w 9144000"/>
              <a:gd name="connsiteY26" fmla="*/ 6324473 h 6858000"/>
              <a:gd name="connsiteX27" fmla="*/ 3364103 w 9144000"/>
              <a:gd name="connsiteY27" fmla="*/ 6261100 h 6858000"/>
              <a:gd name="connsiteX28" fmla="*/ 1499108 w 9144000"/>
              <a:gd name="connsiteY28" fmla="*/ 6253480 h 6858000"/>
              <a:gd name="connsiteX29" fmla="*/ 1511046 w 9144000"/>
              <a:gd name="connsiteY29" fmla="*/ 6264783 h 6858000"/>
              <a:gd name="connsiteX30" fmla="*/ 1511046 w 9144000"/>
              <a:gd name="connsiteY30" fmla="*/ 6384290 h 6858000"/>
              <a:gd name="connsiteX31" fmla="*/ 1499108 w 9144000"/>
              <a:gd name="connsiteY31" fmla="*/ 6395593 h 6858000"/>
              <a:gd name="connsiteX32" fmla="*/ 1539367 w 9144000"/>
              <a:gd name="connsiteY32" fmla="*/ 6395593 h 6858000"/>
              <a:gd name="connsiteX33" fmla="*/ 1527429 w 9144000"/>
              <a:gd name="connsiteY33" fmla="*/ 6384290 h 6858000"/>
              <a:gd name="connsiteX34" fmla="*/ 1527429 w 9144000"/>
              <a:gd name="connsiteY34" fmla="*/ 6264783 h 6858000"/>
              <a:gd name="connsiteX35" fmla="*/ 1539367 w 9144000"/>
              <a:gd name="connsiteY35" fmla="*/ 6253480 h 6858000"/>
              <a:gd name="connsiteX36" fmla="*/ 1235964 w 9144000"/>
              <a:gd name="connsiteY36" fmla="*/ 6253480 h 6858000"/>
              <a:gd name="connsiteX37" fmla="*/ 1247648 w 9144000"/>
              <a:gd name="connsiteY37" fmla="*/ 6264783 h 6858000"/>
              <a:gd name="connsiteX38" fmla="*/ 1247648 w 9144000"/>
              <a:gd name="connsiteY38" fmla="*/ 6384290 h 6858000"/>
              <a:gd name="connsiteX39" fmla="*/ 1235964 w 9144000"/>
              <a:gd name="connsiteY39" fmla="*/ 6395593 h 6858000"/>
              <a:gd name="connsiteX40" fmla="*/ 1275969 w 9144000"/>
              <a:gd name="connsiteY40" fmla="*/ 6395593 h 6858000"/>
              <a:gd name="connsiteX41" fmla="*/ 1264031 w 9144000"/>
              <a:gd name="connsiteY41" fmla="*/ 6384290 h 6858000"/>
              <a:gd name="connsiteX42" fmla="*/ 1264031 w 9144000"/>
              <a:gd name="connsiteY42" fmla="*/ 6329426 h 6858000"/>
              <a:gd name="connsiteX43" fmla="*/ 1286510 w 9144000"/>
              <a:gd name="connsiteY43" fmla="*/ 6329426 h 6858000"/>
              <a:gd name="connsiteX44" fmla="*/ 1322705 w 9144000"/>
              <a:gd name="connsiteY44" fmla="*/ 6395720 h 6858000"/>
              <a:gd name="connsiteX45" fmla="*/ 1322705 w 9144000"/>
              <a:gd name="connsiteY45" fmla="*/ 6395847 h 6858000"/>
              <a:gd name="connsiteX46" fmla="*/ 1347470 w 9144000"/>
              <a:gd name="connsiteY46" fmla="*/ 6395847 h 6858000"/>
              <a:gd name="connsiteX47" fmla="*/ 1335786 w 9144000"/>
              <a:gd name="connsiteY47" fmla="*/ 6384544 h 6858000"/>
              <a:gd name="connsiteX48" fmla="*/ 1302385 w 9144000"/>
              <a:gd name="connsiteY48" fmla="*/ 6326124 h 6858000"/>
              <a:gd name="connsiteX49" fmla="*/ 1330452 w 9144000"/>
              <a:gd name="connsiteY49" fmla="*/ 6292850 h 6858000"/>
              <a:gd name="connsiteX50" fmla="*/ 1282192 w 9144000"/>
              <a:gd name="connsiteY50" fmla="*/ 6253480 h 6858000"/>
              <a:gd name="connsiteX51" fmla="*/ 1107821 w 9144000"/>
              <a:gd name="connsiteY51" fmla="*/ 6253480 h 6858000"/>
              <a:gd name="connsiteX52" fmla="*/ 1119505 w 9144000"/>
              <a:gd name="connsiteY52" fmla="*/ 6264783 h 6858000"/>
              <a:gd name="connsiteX53" fmla="*/ 1119505 w 9144000"/>
              <a:gd name="connsiteY53" fmla="*/ 6384290 h 6858000"/>
              <a:gd name="connsiteX54" fmla="*/ 1107821 w 9144000"/>
              <a:gd name="connsiteY54" fmla="*/ 6395593 h 6858000"/>
              <a:gd name="connsiteX55" fmla="*/ 1197102 w 9144000"/>
              <a:gd name="connsiteY55" fmla="*/ 6395593 h 6858000"/>
              <a:gd name="connsiteX56" fmla="*/ 1197102 w 9144000"/>
              <a:gd name="connsiteY56" fmla="*/ 6369558 h 6858000"/>
              <a:gd name="connsiteX57" fmla="*/ 1181100 w 9144000"/>
              <a:gd name="connsiteY57" fmla="*/ 6384925 h 6858000"/>
              <a:gd name="connsiteX58" fmla="*/ 1135761 w 9144000"/>
              <a:gd name="connsiteY58" fmla="*/ 6384925 h 6858000"/>
              <a:gd name="connsiteX59" fmla="*/ 1135761 w 9144000"/>
              <a:gd name="connsiteY59" fmla="*/ 6325235 h 6858000"/>
              <a:gd name="connsiteX60" fmla="*/ 1169416 w 9144000"/>
              <a:gd name="connsiteY60" fmla="*/ 6325235 h 6858000"/>
              <a:gd name="connsiteX61" fmla="*/ 1181354 w 9144000"/>
              <a:gd name="connsiteY61" fmla="*/ 6336538 h 6858000"/>
              <a:gd name="connsiteX62" fmla="*/ 1181354 w 9144000"/>
              <a:gd name="connsiteY62" fmla="*/ 6303264 h 6858000"/>
              <a:gd name="connsiteX63" fmla="*/ 1169416 w 9144000"/>
              <a:gd name="connsiteY63" fmla="*/ 6314567 h 6858000"/>
              <a:gd name="connsiteX64" fmla="*/ 1135761 w 9144000"/>
              <a:gd name="connsiteY64" fmla="*/ 6314567 h 6858000"/>
              <a:gd name="connsiteX65" fmla="*/ 1135761 w 9144000"/>
              <a:gd name="connsiteY65" fmla="*/ 6263894 h 6858000"/>
              <a:gd name="connsiteX66" fmla="*/ 1181100 w 9144000"/>
              <a:gd name="connsiteY66" fmla="*/ 6263894 h 6858000"/>
              <a:gd name="connsiteX67" fmla="*/ 1197102 w 9144000"/>
              <a:gd name="connsiteY67" fmla="*/ 6279134 h 6858000"/>
              <a:gd name="connsiteX68" fmla="*/ 1197102 w 9144000"/>
              <a:gd name="connsiteY68" fmla="*/ 6253480 h 6858000"/>
              <a:gd name="connsiteX69" fmla="*/ 961263 w 9144000"/>
              <a:gd name="connsiteY69" fmla="*/ 6253480 h 6858000"/>
              <a:gd name="connsiteX70" fmla="*/ 973455 w 9144000"/>
              <a:gd name="connsiteY70" fmla="*/ 6264783 h 6858000"/>
              <a:gd name="connsiteX71" fmla="*/ 1015492 w 9144000"/>
              <a:gd name="connsiteY71" fmla="*/ 6395720 h 6858000"/>
              <a:gd name="connsiteX72" fmla="*/ 1023112 w 9144000"/>
              <a:gd name="connsiteY72" fmla="*/ 6395720 h 6858000"/>
              <a:gd name="connsiteX73" fmla="*/ 1066419 w 9144000"/>
              <a:gd name="connsiteY73" fmla="*/ 6264783 h 6858000"/>
              <a:gd name="connsiteX74" fmla="*/ 1066165 w 9144000"/>
              <a:gd name="connsiteY74" fmla="*/ 6264783 h 6858000"/>
              <a:gd name="connsiteX75" fmla="*/ 1078357 w 9144000"/>
              <a:gd name="connsiteY75" fmla="*/ 6253480 h 6858000"/>
              <a:gd name="connsiteX76" fmla="*/ 1042416 w 9144000"/>
              <a:gd name="connsiteY76" fmla="*/ 6253480 h 6858000"/>
              <a:gd name="connsiteX77" fmla="*/ 1054100 w 9144000"/>
              <a:gd name="connsiteY77" fmla="*/ 6264529 h 6858000"/>
              <a:gd name="connsiteX78" fmla="*/ 1022477 w 9144000"/>
              <a:gd name="connsiteY78" fmla="*/ 6362954 h 6858000"/>
              <a:gd name="connsiteX79" fmla="*/ 991870 w 9144000"/>
              <a:gd name="connsiteY79" fmla="*/ 6264529 h 6858000"/>
              <a:gd name="connsiteX80" fmla="*/ 1003554 w 9144000"/>
              <a:gd name="connsiteY80" fmla="*/ 6253480 h 6858000"/>
              <a:gd name="connsiteX81" fmla="*/ 887730 w 9144000"/>
              <a:gd name="connsiteY81" fmla="*/ 6253480 h 6858000"/>
              <a:gd name="connsiteX82" fmla="*/ 899668 w 9144000"/>
              <a:gd name="connsiteY82" fmla="*/ 6264783 h 6858000"/>
              <a:gd name="connsiteX83" fmla="*/ 899668 w 9144000"/>
              <a:gd name="connsiteY83" fmla="*/ 6384290 h 6858000"/>
              <a:gd name="connsiteX84" fmla="*/ 887730 w 9144000"/>
              <a:gd name="connsiteY84" fmla="*/ 6395593 h 6858000"/>
              <a:gd name="connsiteX85" fmla="*/ 927989 w 9144000"/>
              <a:gd name="connsiteY85" fmla="*/ 6395593 h 6858000"/>
              <a:gd name="connsiteX86" fmla="*/ 916051 w 9144000"/>
              <a:gd name="connsiteY86" fmla="*/ 6384290 h 6858000"/>
              <a:gd name="connsiteX87" fmla="*/ 916051 w 9144000"/>
              <a:gd name="connsiteY87" fmla="*/ 6264783 h 6858000"/>
              <a:gd name="connsiteX88" fmla="*/ 927989 w 9144000"/>
              <a:gd name="connsiteY88" fmla="*/ 6253480 h 6858000"/>
              <a:gd name="connsiteX89" fmla="*/ 568071 w 9144000"/>
              <a:gd name="connsiteY89" fmla="*/ 6253480 h 6858000"/>
              <a:gd name="connsiteX90" fmla="*/ 581025 w 9144000"/>
              <a:gd name="connsiteY90" fmla="*/ 6265672 h 6858000"/>
              <a:gd name="connsiteX91" fmla="*/ 581025 w 9144000"/>
              <a:gd name="connsiteY91" fmla="*/ 6357493 h 6858000"/>
              <a:gd name="connsiteX92" fmla="*/ 627253 w 9144000"/>
              <a:gd name="connsiteY92" fmla="*/ 6398768 h 6858000"/>
              <a:gd name="connsiteX93" fmla="*/ 675513 w 9144000"/>
              <a:gd name="connsiteY93" fmla="*/ 6357493 h 6858000"/>
              <a:gd name="connsiteX94" fmla="*/ 675513 w 9144000"/>
              <a:gd name="connsiteY94" fmla="*/ 6265672 h 6858000"/>
              <a:gd name="connsiteX95" fmla="*/ 675767 w 9144000"/>
              <a:gd name="connsiteY95" fmla="*/ 6265672 h 6858000"/>
              <a:gd name="connsiteX96" fmla="*/ 688340 w 9144000"/>
              <a:gd name="connsiteY96" fmla="*/ 6253480 h 6858000"/>
              <a:gd name="connsiteX97" fmla="*/ 649478 w 9144000"/>
              <a:gd name="connsiteY97" fmla="*/ 6253480 h 6858000"/>
              <a:gd name="connsiteX98" fmla="*/ 662305 w 9144000"/>
              <a:gd name="connsiteY98" fmla="*/ 6265672 h 6858000"/>
              <a:gd name="connsiteX99" fmla="*/ 662305 w 9144000"/>
              <a:gd name="connsiteY99" fmla="*/ 6357493 h 6858000"/>
              <a:gd name="connsiteX100" fmla="*/ 631444 w 9144000"/>
              <a:gd name="connsiteY100" fmla="*/ 6386957 h 6858000"/>
              <a:gd name="connsiteX101" fmla="*/ 598551 w 9144000"/>
              <a:gd name="connsiteY101" fmla="*/ 6357493 h 6858000"/>
              <a:gd name="connsiteX102" fmla="*/ 598551 w 9144000"/>
              <a:gd name="connsiteY102" fmla="*/ 6265672 h 6858000"/>
              <a:gd name="connsiteX103" fmla="*/ 611378 w 9144000"/>
              <a:gd name="connsiteY103" fmla="*/ 6253480 h 6858000"/>
              <a:gd name="connsiteX104" fmla="*/ 2797937 w 9144000"/>
              <a:gd name="connsiteY104" fmla="*/ 6253353 h 6858000"/>
              <a:gd name="connsiteX105" fmla="*/ 2809875 w 9144000"/>
              <a:gd name="connsiteY105" fmla="*/ 6264656 h 6858000"/>
              <a:gd name="connsiteX106" fmla="*/ 2809875 w 9144000"/>
              <a:gd name="connsiteY106" fmla="*/ 6384163 h 6858000"/>
              <a:gd name="connsiteX107" fmla="*/ 2797937 w 9144000"/>
              <a:gd name="connsiteY107" fmla="*/ 6395466 h 6858000"/>
              <a:gd name="connsiteX108" fmla="*/ 2838196 w 9144000"/>
              <a:gd name="connsiteY108" fmla="*/ 6395466 h 6858000"/>
              <a:gd name="connsiteX109" fmla="*/ 2826258 w 9144000"/>
              <a:gd name="connsiteY109" fmla="*/ 6384163 h 6858000"/>
              <a:gd name="connsiteX110" fmla="*/ 2826258 w 9144000"/>
              <a:gd name="connsiteY110" fmla="*/ 6264656 h 6858000"/>
              <a:gd name="connsiteX111" fmla="*/ 2838196 w 9144000"/>
              <a:gd name="connsiteY111" fmla="*/ 6253353 h 6858000"/>
              <a:gd name="connsiteX112" fmla="*/ 1701038 w 9144000"/>
              <a:gd name="connsiteY112" fmla="*/ 6253353 h 6858000"/>
              <a:gd name="connsiteX113" fmla="*/ 1713230 w 9144000"/>
              <a:gd name="connsiteY113" fmla="*/ 6264656 h 6858000"/>
              <a:gd name="connsiteX114" fmla="*/ 1713230 w 9144000"/>
              <a:gd name="connsiteY114" fmla="*/ 6264910 h 6858000"/>
              <a:gd name="connsiteX115" fmla="*/ 1750949 w 9144000"/>
              <a:gd name="connsiteY115" fmla="*/ 6329807 h 6858000"/>
              <a:gd name="connsiteX116" fmla="*/ 1750949 w 9144000"/>
              <a:gd name="connsiteY116" fmla="*/ 6384544 h 6858000"/>
              <a:gd name="connsiteX117" fmla="*/ 1739011 w 9144000"/>
              <a:gd name="connsiteY117" fmla="*/ 6395847 h 6858000"/>
              <a:gd name="connsiteX118" fmla="*/ 1779270 w 9144000"/>
              <a:gd name="connsiteY118" fmla="*/ 6395847 h 6858000"/>
              <a:gd name="connsiteX119" fmla="*/ 1767332 w 9144000"/>
              <a:gd name="connsiteY119" fmla="*/ 6384544 h 6858000"/>
              <a:gd name="connsiteX120" fmla="*/ 1767332 w 9144000"/>
              <a:gd name="connsiteY120" fmla="*/ 6329553 h 6858000"/>
              <a:gd name="connsiteX121" fmla="*/ 1805813 w 9144000"/>
              <a:gd name="connsiteY121" fmla="*/ 6264910 h 6858000"/>
              <a:gd name="connsiteX122" fmla="*/ 1805686 w 9144000"/>
              <a:gd name="connsiteY122" fmla="*/ 6264910 h 6858000"/>
              <a:gd name="connsiteX123" fmla="*/ 1818005 w 9144000"/>
              <a:gd name="connsiteY123" fmla="*/ 6253353 h 6858000"/>
              <a:gd name="connsiteX124" fmla="*/ 1781175 w 9144000"/>
              <a:gd name="connsiteY124" fmla="*/ 6253353 h 6858000"/>
              <a:gd name="connsiteX125" fmla="*/ 1792859 w 9144000"/>
              <a:gd name="connsiteY125" fmla="*/ 6264402 h 6858000"/>
              <a:gd name="connsiteX126" fmla="*/ 1761490 w 9144000"/>
              <a:gd name="connsiteY126" fmla="*/ 6317742 h 6858000"/>
              <a:gd name="connsiteX127" fmla="*/ 1731645 w 9144000"/>
              <a:gd name="connsiteY127" fmla="*/ 6264402 h 6858000"/>
              <a:gd name="connsiteX128" fmla="*/ 1743329 w 9144000"/>
              <a:gd name="connsiteY128" fmla="*/ 6253353 h 6858000"/>
              <a:gd name="connsiteX129" fmla="*/ 1573911 w 9144000"/>
              <a:gd name="connsiteY129" fmla="*/ 6253353 h 6858000"/>
              <a:gd name="connsiteX130" fmla="*/ 1573911 w 9144000"/>
              <a:gd name="connsiteY130" fmla="*/ 6279134 h 6858000"/>
              <a:gd name="connsiteX131" fmla="*/ 1590040 w 9144000"/>
              <a:gd name="connsiteY131" fmla="*/ 6263894 h 6858000"/>
              <a:gd name="connsiteX132" fmla="*/ 1618107 w 9144000"/>
              <a:gd name="connsiteY132" fmla="*/ 6263894 h 6858000"/>
              <a:gd name="connsiteX133" fmla="*/ 1618107 w 9144000"/>
              <a:gd name="connsiteY133" fmla="*/ 6384163 h 6858000"/>
              <a:gd name="connsiteX134" fmla="*/ 1606423 w 9144000"/>
              <a:gd name="connsiteY134" fmla="*/ 6395466 h 6858000"/>
              <a:gd name="connsiteX135" fmla="*/ 1646428 w 9144000"/>
              <a:gd name="connsiteY135" fmla="*/ 6395466 h 6858000"/>
              <a:gd name="connsiteX136" fmla="*/ 1634617 w 9144000"/>
              <a:gd name="connsiteY136" fmla="*/ 6384290 h 6858000"/>
              <a:gd name="connsiteX137" fmla="*/ 1634617 w 9144000"/>
              <a:gd name="connsiteY137" fmla="*/ 6263894 h 6858000"/>
              <a:gd name="connsiteX138" fmla="*/ 1662938 w 9144000"/>
              <a:gd name="connsiteY138" fmla="*/ 6263894 h 6858000"/>
              <a:gd name="connsiteX139" fmla="*/ 1678940 w 9144000"/>
              <a:gd name="connsiteY139" fmla="*/ 6279134 h 6858000"/>
              <a:gd name="connsiteX140" fmla="*/ 1678940 w 9144000"/>
              <a:gd name="connsiteY140" fmla="*/ 6253353 h 6858000"/>
              <a:gd name="connsiteX141" fmla="*/ 722884 w 9144000"/>
              <a:gd name="connsiteY141" fmla="*/ 6253353 h 6858000"/>
              <a:gd name="connsiteX142" fmla="*/ 735457 w 9144000"/>
              <a:gd name="connsiteY142" fmla="*/ 6265545 h 6858000"/>
              <a:gd name="connsiteX143" fmla="*/ 735457 w 9144000"/>
              <a:gd name="connsiteY143" fmla="*/ 6383274 h 6858000"/>
              <a:gd name="connsiteX144" fmla="*/ 722884 w 9144000"/>
              <a:gd name="connsiteY144" fmla="*/ 6395466 h 6858000"/>
              <a:gd name="connsiteX145" fmla="*/ 761873 w 9144000"/>
              <a:gd name="connsiteY145" fmla="*/ 6395466 h 6858000"/>
              <a:gd name="connsiteX146" fmla="*/ 749046 w 9144000"/>
              <a:gd name="connsiteY146" fmla="*/ 6383274 h 6858000"/>
              <a:gd name="connsiteX147" fmla="*/ 749046 w 9144000"/>
              <a:gd name="connsiteY147" fmla="*/ 6276721 h 6858000"/>
              <a:gd name="connsiteX148" fmla="*/ 829056 w 9144000"/>
              <a:gd name="connsiteY148" fmla="*/ 6395593 h 6858000"/>
              <a:gd name="connsiteX149" fmla="*/ 834263 w 9144000"/>
              <a:gd name="connsiteY149" fmla="*/ 6395593 h 6858000"/>
              <a:gd name="connsiteX150" fmla="*/ 834263 w 9144000"/>
              <a:gd name="connsiteY150" fmla="*/ 6265672 h 6858000"/>
              <a:gd name="connsiteX151" fmla="*/ 834263 w 9144000"/>
              <a:gd name="connsiteY151" fmla="*/ 6265545 h 6858000"/>
              <a:gd name="connsiteX152" fmla="*/ 847090 w 9144000"/>
              <a:gd name="connsiteY152" fmla="*/ 6253353 h 6858000"/>
              <a:gd name="connsiteX153" fmla="*/ 808101 w 9144000"/>
              <a:gd name="connsiteY153" fmla="*/ 6253353 h 6858000"/>
              <a:gd name="connsiteX154" fmla="*/ 820928 w 9144000"/>
              <a:gd name="connsiteY154" fmla="*/ 6265545 h 6858000"/>
              <a:gd name="connsiteX155" fmla="*/ 820928 w 9144000"/>
              <a:gd name="connsiteY155" fmla="*/ 6355969 h 6858000"/>
              <a:gd name="connsiteX156" fmla="*/ 753745 w 9144000"/>
              <a:gd name="connsiteY156" fmla="*/ 6253353 h 6858000"/>
              <a:gd name="connsiteX157" fmla="*/ 3453003 w 9144000"/>
              <a:gd name="connsiteY157" fmla="*/ 6253226 h 6858000"/>
              <a:gd name="connsiteX158" fmla="*/ 3465576 w 9144000"/>
              <a:gd name="connsiteY158" fmla="*/ 6265418 h 6858000"/>
              <a:gd name="connsiteX159" fmla="*/ 3465576 w 9144000"/>
              <a:gd name="connsiteY159" fmla="*/ 6383147 h 6858000"/>
              <a:gd name="connsiteX160" fmla="*/ 3453003 w 9144000"/>
              <a:gd name="connsiteY160" fmla="*/ 6395339 h 6858000"/>
              <a:gd name="connsiteX161" fmla="*/ 3491992 w 9144000"/>
              <a:gd name="connsiteY161" fmla="*/ 6395339 h 6858000"/>
              <a:gd name="connsiteX162" fmla="*/ 3479165 w 9144000"/>
              <a:gd name="connsiteY162" fmla="*/ 6383147 h 6858000"/>
              <a:gd name="connsiteX163" fmla="*/ 3479165 w 9144000"/>
              <a:gd name="connsiteY163" fmla="*/ 6276594 h 6858000"/>
              <a:gd name="connsiteX164" fmla="*/ 3556889 w 9144000"/>
              <a:gd name="connsiteY164" fmla="*/ 6395466 h 6858000"/>
              <a:gd name="connsiteX165" fmla="*/ 3564509 w 9144000"/>
              <a:gd name="connsiteY165" fmla="*/ 6395466 h 6858000"/>
              <a:gd name="connsiteX166" fmla="*/ 3564509 w 9144000"/>
              <a:gd name="connsiteY166" fmla="*/ 6265545 h 6858000"/>
              <a:gd name="connsiteX167" fmla="*/ 3564382 w 9144000"/>
              <a:gd name="connsiteY167" fmla="*/ 6265418 h 6858000"/>
              <a:gd name="connsiteX168" fmla="*/ 3577209 w 9144000"/>
              <a:gd name="connsiteY168" fmla="*/ 6253226 h 6858000"/>
              <a:gd name="connsiteX169" fmla="*/ 3538220 w 9144000"/>
              <a:gd name="connsiteY169" fmla="*/ 6253226 h 6858000"/>
              <a:gd name="connsiteX170" fmla="*/ 3551047 w 9144000"/>
              <a:gd name="connsiteY170" fmla="*/ 6265418 h 6858000"/>
              <a:gd name="connsiteX171" fmla="*/ 3551047 w 9144000"/>
              <a:gd name="connsiteY171" fmla="*/ 6355842 h 6858000"/>
              <a:gd name="connsiteX172" fmla="*/ 3483991 w 9144000"/>
              <a:gd name="connsiteY172" fmla="*/ 6253226 h 6858000"/>
              <a:gd name="connsiteX173" fmla="*/ 3176143 w 9144000"/>
              <a:gd name="connsiteY173" fmla="*/ 6253226 h 6858000"/>
              <a:gd name="connsiteX174" fmla="*/ 3176143 w 9144000"/>
              <a:gd name="connsiteY174" fmla="*/ 6279007 h 6858000"/>
              <a:gd name="connsiteX175" fmla="*/ 3192272 w 9144000"/>
              <a:gd name="connsiteY175" fmla="*/ 6263767 h 6858000"/>
              <a:gd name="connsiteX176" fmla="*/ 3220339 w 9144000"/>
              <a:gd name="connsiteY176" fmla="*/ 6263767 h 6858000"/>
              <a:gd name="connsiteX177" fmla="*/ 3220339 w 9144000"/>
              <a:gd name="connsiteY177" fmla="*/ 6384036 h 6858000"/>
              <a:gd name="connsiteX178" fmla="*/ 3208655 w 9144000"/>
              <a:gd name="connsiteY178" fmla="*/ 6395339 h 6858000"/>
              <a:gd name="connsiteX179" fmla="*/ 3248660 w 9144000"/>
              <a:gd name="connsiteY179" fmla="*/ 6395339 h 6858000"/>
              <a:gd name="connsiteX180" fmla="*/ 3236722 w 9144000"/>
              <a:gd name="connsiteY180" fmla="*/ 6384036 h 6858000"/>
              <a:gd name="connsiteX181" fmla="*/ 3236722 w 9144000"/>
              <a:gd name="connsiteY181" fmla="*/ 6263767 h 6858000"/>
              <a:gd name="connsiteX182" fmla="*/ 3265043 w 9144000"/>
              <a:gd name="connsiteY182" fmla="*/ 6263767 h 6858000"/>
              <a:gd name="connsiteX183" fmla="*/ 3281045 w 9144000"/>
              <a:gd name="connsiteY183" fmla="*/ 6279007 h 6858000"/>
              <a:gd name="connsiteX184" fmla="*/ 3281172 w 9144000"/>
              <a:gd name="connsiteY184" fmla="*/ 6279007 h 6858000"/>
              <a:gd name="connsiteX185" fmla="*/ 3281172 w 9144000"/>
              <a:gd name="connsiteY185" fmla="*/ 6253226 h 6858000"/>
              <a:gd name="connsiteX186" fmla="*/ 2878963 w 9144000"/>
              <a:gd name="connsiteY186" fmla="*/ 6253226 h 6858000"/>
              <a:gd name="connsiteX187" fmla="*/ 2891536 w 9144000"/>
              <a:gd name="connsiteY187" fmla="*/ 6265418 h 6858000"/>
              <a:gd name="connsiteX188" fmla="*/ 2891536 w 9144000"/>
              <a:gd name="connsiteY188" fmla="*/ 6383147 h 6858000"/>
              <a:gd name="connsiteX189" fmla="*/ 2878963 w 9144000"/>
              <a:gd name="connsiteY189" fmla="*/ 6395339 h 6858000"/>
              <a:gd name="connsiteX190" fmla="*/ 2917952 w 9144000"/>
              <a:gd name="connsiteY190" fmla="*/ 6395339 h 6858000"/>
              <a:gd name="connsiteX191" fmla="*/ 2905125 w 9144000"/>
              <a:gd name="connsiteY191" fmla="*/ 6383020 h 6858000"/>
              <a:gd name="connsiteX192" fmla="*/ 2905125 w 9144000"/>
              <a:gd name="connsiteY192" fmla="*/ 6276594 h 6858000"/>
              <a:gd name="connsiteX193" fmla="*/ 2983611 w 9144000"/>
              <a:gd name="connsiteY193" fmla="*/ 6395593 h 6858000"/>
              <a:gd name="connsiteX194" fmla="*/ 2990342 w 9144000"/>
              <a:gd name="connsiteY194" fmla="*/ 6395593 h 6858000"/>
              <a:gd name="connsiteX195" fmla="*/ 2990342 w 9144000"/>
              <a:gd name="connsiteY195" fmla="*/ 6265545 h 6858000"/>
              <a:gd name="connsiteX196" fmla="*/ 2990342 w 9144000"/>
              <a:gd name="connsiteY196" fmla="*/ 6265418 h 6858000"/>
              <a:gd name="connsiteX197" fmla="*/ 3003169 w 9144000"/>
              <a:gd name="connsiteY197" fmla="*/ 6253226 h 6858000"/>
              <a:gd name="connsiteX198" fmla="*/ 2964180 w 9144000"/>
              <a:gd name="connsiteY198" fmla="*/ 6253226 h 6858000"/>
              <a:gd name="connsiteX199" fmla="*/ 2977007 w 9144000"/>
              <a:gd name="connsiteY199" fmla="*/ 6265418 h 6858000"/>
              <a:gd name="connsiteX200" fmla="*/ 2977007 w 9144000"/>
              <a:gd name="connsiteY200" fmla="*/ 6355842 h 6858000"/>
              <a:gd name="connsiteX201" fmla="*/ 2909824 w 9144000"/>
              <a:gd name="connsiteY201" fmla="*/ 6253226 h 6858000"/>
              <a:gd name="connsiteX202" fmla="*/ 2637409 w 9144000"/>
              <a:gd name="connsiteY202" fmla="*/ 6253226 h 6858000"/>
              <a:gd name="connsiteX203" fmla="*/ 2649093 w 9144000"/>
              <a:gd name="connsiteY203" fmla="*/ 6264529 h 6858000"/>
              <a:gd name="connsiteX204" fmla="*/ 2649093 w 9144000"/>
              <a:gd name="connsiteY204" fmla="*/ 6384036 h 6858000"/>
              <a:gd name="connsiteX205" fmla="*/ 2637409 w 9144000"/>
              <a:gd name="connsiteY205" fmla="*/ 6395339 h 6858000"/>
              <a:gd name="connsiteX206" fmla="*/ 2677414 w 9144000"/>
              <a:gd name="connsiteY206" fmla="*/ 6395339 h 6858000"/>
              <a:gd name="connsiteX207" fmla="*/ 2665476 w 9144000"/>
              <a:gd name="connsiteY207" fmla="*/ 6384036 h 6858000"/>
              <a:gd name="connsiteX208" fmla="*/ 2665476 w 9144000"/>
              <a:gd name="connsiteY208" fmla="*/ 6324092 h 6858000"/>
              <a:gd name="connsiteX209" fmla="*/ 2728214 w 9144000"/>
              <a:gd name="connsiteY209" fmla="*/ 6324092 h 6858000"/>
              <a:gd name="connsiteX210" fmla="*/ 2728214 w 9144000"/>
              <a:gd name="connsiteY210" fmla="*/ 6384163 h 6858000"/>
              <a:gd name="connsiteX211" fmla="*/ 2716276 w 9144000"/>
              <a:gd name="connsiteY211" fmla="*/ 6395466 h 6858000"/>
              <a:gd name="connsiteX212" fmla="*/ 2756535 w 9144000"/>
              <a:gd name="connsiteY212" fmla="*/ 6395466 h 6858000"/>
              <a:gd name="connsiteX213" fmla="*/ 2744597 w 9144000"/>
              <a:gd name="connsiteY213" fmla="*/ 6384163 h 6858000"/>
              <a:gd name="connsiteX214" fmla="*/ 2744597 w 9144000"/>
              <a:gd name="connsiteY214" fmla="*/ 6264529 h 6858000"/>
              <a:gd name="connsiteX215" fmla="*/ 2756535 w 9144000"/>
              <a:gd name="connsiteY215" fmla="*/ 6253226 h 6858000"/>
              <a:gd name="connsiteX216" fmla="*/ 2716276 w 9144000"/>
              <a:gd name="connsiteY216" fmla="*/ 6253226 h 6858000"/>
              <a:gd name="connsiteX217" fmla="*/ 2728214 w 9144000"/>
              <a:gd name="connsiteY217" fmla="*/ 6264529 h 6858000"/>
              <a:gd name="connsiteX218" fmla="*/ 2728214 w 9144000"/>
              <a:gd name="connsiteY218" fmla="*/ 6313424 h 6858000"/>
              <a:gd name="connsiteX219" fmla="*/ 2665476 w 9144000"/>
              <a:gd name="connsiteY219" fmla="*/ 6313424 h 6858000"/>
              <a:gd name="connsiteX220" fmla="*/ 2665476 w 9144000"/>
              <a:gd name="connsiteY220" fmla="*/ 6264529 h 6858000"/>
              <a:gd name="connsiteX221" fmla="*/ 2677414 w 9144000"/>
              <a:gd name="connsiteY221" fmla="*/ 6253226 h 6858000"/>
              <a:gd name="connsiteX222" fmla="*/ 2430907 w 9144000"/>
              <a:gd name="connsiteY222" fmla="*/ 6253226 h 6858000"/>
              <a:gd name="connsiteX223" fmla="*/ 2383536 w 9144000"/>
              <a:gd name="connsiteY223" fmla="*/ 6383909 h 6858000"/>
              <a:gd name="connsiteX224" fmla="*/ 2371344 w 9144000"/>
              <a:gd name="connsiteY224" fmla="*/ 6395466 h 6858000"/>
              <a:gd name="connsiteX225" fmla="*/ 2407285 w 9144000"/>
              <a:gd name="connsiteY225" fmla="*/ 6395466 h 6858000"/>
              <a:gd name="connsiteX226" fmla="*/ 2395601 w 9144000"/>
              <a:gd name="connsiteY226" fmla="*/ 6384417 h 6858000"/>
              <a:gd name="connsiteX227" fmla="*/ 2406396 w 9144000"/>
              <a:gd name="connsiteY227" fmla="*/ 6354318 h 6858000"/>
              <a:gd name="connsiteX228" fmla="*/ 2455799 w 9144000"/>
              <a:gd name="connsiteY228" fmla="*/ 6354318 h 6858000"/>
              <a:gd name="connsiteX229" fmla="*/ 2466086 w 9144000"/>
              <a:gd name="connsiteY229" fmla="*/ 6384417 h 6858000"/>
              <a:gd name="connsiteX230" fmla="*/ 2454402 w 9144000"/>
              <a:gd name="connsiteY230" fmla="*/ 6395466 h 6858000"/>
              <a:gd name="connsiteX231" fmla="*/ 2454656 w 9144000"/>
              <a:gd name="connsiteY231" fmla="*/ 6395466 h 6858000"/>
              <a:gd name="connsiteX232" fmla="*/ 2496947 w 9144000"/>
              <a:gd name="connsiteY232" fmla="*/ 6395466 h 6858000"/>
              <a:gd name="connsiteX233" fmla="*/ 2485009 w 9144000"/>
              <a:gd name="connsiteY233" fmla="*/ 6383909 h 6858000"/>
              <a:gd name="connsiteX234" fmla="*/ 2438527 w 9144000"/>
              <a:gd name="connsiteY234" fmla="*/ 6253226 h 6858000"/>
              <a:gd name="connsiteX235" fmla="*/ 2175256 w 9144000"/>
              <a:gd name="connsiteY235" fmla="*/ 6253226 h 6858000"/>
              <a:gd name="connsiteX236" fmla="*/ 2187448 w 9144000"/>
              <a:gd name="connsiteY236" fmla="*/ 6264529 h 6858000"/>
              <a:gd name="connsiteX237" fmla="*/ 2229485 w 9144000"/>
              <a:gd name="connsiteY237" fmla="*/ 6395466 h 6858000"/>
              <a:gd name="connsiteX238" fmla="*/ 2236851 w 9144000"/>
              <a:gd name="connsiteY238" fmla="*/ 6395466 h 6858000"/>
              <a:gd name="connsiteX239" fmla="*/ 2271014 w 9144000"/>
              <a:gd name="connsiteY239" fmla="*/ 6292469 h 6858000"/>
              <a:gd name="connsiteX240" fmla="*/ 2304161 w 9144000"/>
              <a:gd name="connsiteY240" fmla="*/ 6395466 h 6858000"/>
              <a:gd name="connsiteX241" fmla="*/ 2311781 w 9144000"/>
              <a:gd name="connsiteY241" fmla="*/ 6395466 h 6858000"/>
              <a:gd name="connsiteX242" fmla="*/ 2355088 w 9144000"/>
              <a:gd name="connsiteY242" fmla="*/ 6264529 h 6858000"/>
              <a:gd name="connsiteX243" fmla="*/ 2367280 w 9144000"/>
              <a:gd name="connsiteY243" fmla="*/ 6253226 h 6858000"/>
              <a:gd name="connsiteX244" fmla="*/ 2331339 w 9144000"/>
              <a:gd name="connsiteY244" fmla="*/ 6253226 h 6858000"/>
              <a:gd name="connsiteX245" fmla="*/ 2343023 w 9144000"/>
              <a:gd name="connsiteY245" fmla="*/ 6264275 h 6858000"/>
              <a:gd name="connsiteX246" fmla="*/ 2311400 w 9144000"/>
              <a:gd name="connsiteY246" fmla="*/ 6362700 h 6858000"/>
              <a:gd name="connsiteX247" fmla="*/ 2280793 w 9144000"/>
              <a:gd name="connsiteY247" fmla="*/ 6264275 h 6858000"/>
              <a:gd name="connsiteX248" fmla="*/ 2292477 w 9144000"/>
              <a:gd name="connsiteY248" fmla="*/ 6253226 h 6858000"/>
              <a:gd name="connsiteX249" fmla="*/ 2250186 w 9144000"/>
              <a:gd name="connsiteY249" fmla="*/ 6253226 h 6858000"/>
              <a:gd name="connsiteX250" fmla="*/ 2262124 w 9144000"/>
              <a:gd name="connsiteY250" fmla="*/ 6264529 h 6858000"/>
              <a:gd name="connsiteX251" fmla="*/ 2265045 w 9144000"/>
              <a:gd name="connsiteY251" fmla="*/ 6273927 h 6858000"/>
              <a:gd name="connsiteX252" fmla="*/ 2236470 w 9144000"/>
              <a:gd name="connsiteY252" fmla="*/ 6362700 h 6858000"/>
              <a:gd name="connsiteX253" fmla="*/ 2205863 w 9144000"/>
              <a:gd name="connsiteY253" fmla="*/ 6264275 h 6858000"/>
              <a:gd name="connsiteX254" fmla="*/ 2217547 w 9144000"/>
              <a:gd name="connsiteY254" fmla="*/ 6253226 h 6858000"/>
              <a:gd name="connsiteX255" fmla="*/ 1416685 w 9144000"/>
              <a:gd name="connsiteY255" fmla="*/ 6252845 h 6858000"/>
              <a:gd name="connsiteX256" fmla="*/ 1378712 w 9144000"/>
              <a:gd name="connsiteY256" fmla="*/ 6287770 h 6858000"/>
              <a:gd name="connsiteX257" fmla="*/ 1398016 w 9144000"/>
              <a:gd name="connsiteY257" fmla="*/ 6320282 h 6858000"/>
              <a:gd name="connsiteX258" fmla="*/ 1428623 w 9144000"/>
              <a:gd name="connsiteY258" fmla="*/ 6341237 h 6858000"/>
              <a:gd name="connsiteX259" fmla="*/ 1439164 w 9144000"/>
              <a:gd name="connsiteY259" fmla="*/ 6361938 h 6858000"/>
              <a:gd name="connsiteX260" fmla="*/ 1414399 w 9144000"/>
              <a:gd name="connsiteY260" fmla="*/ 6386957 h 6858000"/>
              <a:gd name="connsiteX261" fmla="*/ 1404112 w 9144000"/>
              <a:gd name="connsiteY261" fmla="*/ 6385052 h 6858000"/>
              <a:gd name="connsiteX262" fmla="*/ 1390015 w 9144000"/>
              <a:gd name="connsiteY262" fmla="*/ 6369177 h 6858000"/>
              <a:gd name="connsiteX263" fmla="*/ 1377188 w 9144000"/>
              <a:gd name="connsiteY263" fmla="*/ 6391402 h 6858000"/>
              <a:gd name="connsiteX264" fmla="*/ 1405763 w 9144000"/>
              <a:gd name="connsiteY264" fmla="*/ 6396736 h 6858000"/>
              <a:gd name="connsiteX265" fmla="*/ 1414484 w 9144000"/>
              <a:gd name="connsiteY265" fmla="*/ 6397621 h 6858000"/>
              <a:gd name="connsiteX266" fmla="*/ 1414145 w 9144000"/>
              <a:gd name="connsiteY266" fmla="*/ 6397752 h 6858000"/>
              <a:gd name="connsiteX267" fmla="*/ 1414526 w 9144000"/>
              <a:gd name="connsiteY267" fmla="*/ 6397625 h 6858000"/>
              <a:gd name="connsiteX268" fmla="*/ 1414484 w 9144000"/>
              <a:gd name="connsiteY268" fmla="*/ 6397621 h 6858000"/>
              <a:gd name="connsiteX269" fmla="*/ 1441672 w 9144000"/>
              <a:gd name="connsiteY269" fmla="*/ 6387084 h 6858000"/>
              <a:gd name="connsiteX270" fmla="*/ 1455674 w 9144000"/>
              <a:gd name="connsiteY270" fmla="*/ 6356223 h 6858000"/>
              <a:gd name="connsiteX271" fmla="*/ 1441704 w 9144000"/>
              <a:gd name="connsiteY271" fmla="*/ 6329045 h 6858000"/>
              <a:gd name="connsiteX272" fmla="*/ 1411351 w 9144000"/>
              <a:gd name="connsiteY272" fmla="*/ 6308090 h 6858000"/>
              <a:gd name="connsiteX273" fmla="*/ 1394968 w 9144000"/>
              <a:gd name="connsiteY273" fmla="*/ 6283706 h 6858000"/>
              <a:gd name="connsiteX274" fmla="*/ 1416558 w 9144000"/>
              <a:gd name="connsiteY274" fmla="*/ 6263386 h 6858000"/>
              <a:gd name="connsiteX275" fmla="*/ 1426210 w 9144000"/>
              <a:gd name="connsiteY275" fmla="*/ 6265037 h 6858000"/>
              <a:gd name="connsiteX276" fmla="*/ 1439418 w 9144000"/>
              <a:gd name="connsiteY276" fmla="*/ 6278499 h 6858000"/>
              <a:gd name="connsiteX277" fmla="*/ 1453388 w 9144000"/>
              <a:gd name="connsiteY277" fmla="*/ 6258814 h 6858000"/>
              <a:gd name="connsiteX278" fmla="*/ 1423797 w 9144000"/>
              <a:gd name="connsiteY278" fmla="*/ 6253480 h 6858000"/>
              <a:gd name="connsiteX279" fmla="*/ 1416685 w 9144000"/>
              <a:gd name="connsiteY279" fmla="*/ 6252845 h 6858000"/>
              <a:gd name="connsiteX280" fmla="*/ 2558923 w 9144000"/>
              <a:gd name="connsiteY280" fmla="*/ 6252591 h 6858000"/>
              <a:gd name="connsiteX281" fmla="*/ 2520950 w 9144000"/>
              <a:gd name="connsiteY281" fmla="*/ 6287516 h 6858000"/>
              <a:gd name="connsiteX282" fmla="*/ 2540254 w 9144000"/>
              <a:gd name="connsiteY282" fmla="*/ 6320028 h 6858000"/>
              <a:gd name="connsiteX283" fmla="*/ 2570861 w 9144000"/>
              <a:gd name="connsiteY283" fmla="*/ 6340983 h 6858000"/>
              <a:gd name="connsiteX284" fmla="*/ 2581402 w 9144000"/>
              <a:gd name="connsiteY284" fmla="*/ 6361684 h 6858000"/>
              <a:gd name="connsiteX285" fmla="*/ 2556637 w 9144000"/>
              <a:gd name="connsiteY285" fmla="*/ 6386703 h 6858000"/>
              <a:gd name="connsiteX286" fmla="*/ 2546350 w 9144000"/>
              <a:gd name="connsiteY286" fmla="*/ 6384798 h 6858000"/>
              <a:gd name="connsiteX287" fmla="*/ 2532253 w 9144000"/>
              <a:gd name="connsiteY287" fmla="*/ 6368923 h 6858000"/>
              <a:gd name="connsiteX288" fmla="*/ 2519426 w 9144000"/>
              <a:gd name="connsiteY288" fmla="*/ 6391148 h 6858000"/>
              <a:gd name="connsiteX289" fmla="*/ 2548001 w 9144000"/>
              <a:gd name="connsiteY289" fmla="*/ 6396482 h 6858000"/>
              <a:gd name="connsiteX290" fmla="*/ 2556891 w 9144000"/>
              <a:gd name="connsiteY290" fmla="*/ 6397371 h 6858000"/>
              <a:gd name="connsiteX291" fmla="*/ 2556637 w 9144000"/>
              <a:gd name="connsiteY291" fmla="*/ 6397498 h 6858000"/>
              <a:gd name="connsiteX292" fmla="*/ 2598166 w 9144000"/>
              <a:gd name="connsiteY292" fmla="*/ 6355969 h 6858000"/>
              <a:gd name="connsiteX293" fmla="*/ 2597912 w 9144000"/>
              <a:gd name="connsiteY293" fmla="*/ 6355969 h 6858000"/>
              <a:gd name="connsiteX294" fmla="*/ 2583942 w 9144000"/>
              <a:gd name="connsiteY294" fmla="*/ 6328791 h 6858000"/>
              <a:gd name="connsiteX295" fmla="*/ 2553589 w 9144000"/>
              <a:gd name="connsiteY295" fmla="*/ 6307836 h 6858000"/>
              <a:gd name="connsiteX296" fmla="*/ 2537206 w 9144000"/>
              <a:gd name="connsiteY296" fmla="*/ 6283452 h 6858000"/>
              <a:gd name="connsiteX297" fmla="*/ 2558796 w 9144000"/>
              <a:gd name="connsiteY297" fmla="*/ 6263132 h 6858000"/>
              <a:gd name="connsiteX298" fmla="*/ 2568448 w 9144000"/>
              <a:gd name="connsiteY298" fmla="*/ 6264783 h 6858000"/>
              <a:gd name="connsiteX299" fmla="*/ 2581656 w 9144000"/>
              <a:gd name="connsiteY299" fmla="*/ 6278245 h 6858000"/>
              <a:gd name="connsiteX300" fmla="*/ 2595626 w 9144000"/>
              <a:gd name="connsiteY300" fmla="*/ 6258560 h 6858000"/>
              <a:gd name="connsiteX301" fmla="*/ 2566035 w 9144000"/>
              <a:gd name="connsiteY301" fmla="*/ 6253226 h 6858000"/>
              <a:gd name="connsiteX302" fmla="*/ 2558923 w 9144000"/>
              <a:gd name="connsiteY302" fmla="*/ 6252591 h 6858000"/>
              <a:gd name="connsiteX303" fmla="*/ 2079371 w 9144000"/>
              <a:gd name="connsiteY303" fmla="*/ 6252464 h 6858000"/>
              <a:gd name="connsiteX304" fmla="*/ 2045589 w 9144000"/>
              <a:gd name="connsiteY304" fmla="*/ 6269228 h 6858000"/>
              <a:gd name="connsiteX305" fmla="*/ 2028952 w 9144000"/>
              <a:gd name="connsiteY305" fmla="*/ 6309995 h 6858000"/>
              <a:gd name="connsiteX306" fmla="*/ 2015363 w 9144000"/>
              <a:gd name="connsiteY306" fmla="*/ 6309995 h 6858000"/>
              <a:gd name="connsiteX307" fmla="*/ 2015363 w 9144000"/>
              <a:gd name="connsiteY307" fmla="*/ 6310249 h 6858000"/>
              <a:gd name="connsiteX308" fmla="*/ 2009648 w 9144000"/>
              <a:gd name="connsiteY308" fmla="*/ 6315456 h 6858000"/>
              <a:gd name="connsiteX309" fmla="*/ 2010283 w 9144000"/>
              <a:gd name="connsiteY309" fmla="*/ 6317488 h 6858000"/>
              <a:gd name="connsiteX310" fmla="*/ 2027809 w 9144000"/>
              <a:gd name="connsiteY310" fmla="*/ 6317488 h 6858000"/>
              <a:gd name="connsiteX311" fmla="*/ 2018538 w 9144000"/>
              <a:gd name="connsiteY311" fmla="*/ 6376289 h 6858000"/>
              <a:gd name="connsiteX312" fmla="*/ 2004060 w 9144000"/>
              <a:gd name="connsiteY312" fmla="*/ 6430137 h 6858000"/>
              <a:gd name="connsiteX313" fmla="*/ 1998853 w 9144000"/>
              <a:gd name="connsiteY313" fmla="*/ 6431915 h 6858000"/>
              <a:gd name="connsiteX314" fmla="*/ 1989582 w 9144000"/>
              <a:gd name="connsiteY314" fmla="*/ 6428994 h 6858000"/>
              <a:gd name="connsiteX315" fmla="*/ 1983740 w 9144000"/>
              <a:gd name="connsiteY315" fmla="*/ 6430391 h 6858000"/>
              <a:gd name="connsiteX316" fmla="*/ 1980184 w 9144000"/>
              <a:gd name="connsiteY316" fmla="*/ 6437249 h 6858000"/>
              <a:gd name="connsiteX317" fmla="*/ 1989201 w 9144000"/>
              <a:gd name="connsiteY317" fmla="*/ 6443218 h 6858000"/>
              <a:gd name="connsiteX318" fmla="*/ 2012315 w 9144000"/>
              <a:gd name="connsiteY318" fmla="*/ 6429375 h 6858000"/>
              <a:gd name="connsiteX319" fmla="*/ 2037334 w 9144000"/>
              <a:gd name="connsiteY319" fmla="*/ 6356223 h 6858000"/>
              <a:gd name="connsiteX320" fmla="*/ 2044065 w 9144000"/>
              <a:gd name="connsiteY320" fmla="*/ 6317361 h 6858000"/>
              <a:gd name="connsiteX321" fmla="*/ 2065528 w 9144000"/>
              <a:gd name="connsiteY321" fmla="*/ 6315329 h 6858000"/>
              <a:gd name="connsiteX322" fmla="*/ 2070227 w 9144000"/>
              <a:gd name="connsiteY322" fmla="*/ 6310122 h 6858000"/>
              <a:gd name="connsiteX323" fmla="*/ 2045462 w 9144000"/>
              <a:gd name="connsiteY323" fmla="*/ 6310122 h 6858000"/>
              <a:gd name="connsiteX324" fmla="*/ 2066036 w 9144000"/>
              <a:gd name="connsiteY324" fmla="*/ 6261862 h 6858000"/>
              <a:gd name="connsiteX325" fmla="*/ 2082165 w 9144000"/>
              <a:gd name="connsiteY325" fmla="*/ 6268466 h 6858000"/>
              <a:gd name="connsiteX326" fmla="*/ 2088007 w 9144000"/>
              <a:gd name="connsiteY326" fmla="*/ 6268212 h 6858000"/>
              <a:gd name="connsiteX327" fmla="*/ 2087753 w 9144000"/>
              <a:gd name="connsiteY327" fmla="*/ 6268212 h 6858000"/>
              <a:gd name="connsiteX328" fmla="*/ 2091944 w 9144000"/>
              <a:gd name="connsiteY328" fmla="*/ 6260846 h 6858000"/>
              <a:gd name="connsiteX329" fmla="*/ 2079371 w 9144000"/>
              <a:gd name="connsiteY329" fmla="*/ 6252464 h 6858000"/>
              <a:gd name="connsiteX330" fmla="*/ 3101848 w 9144000"/>
              <a:gd name="connsiteY330" fmla="*/ 6251321 h 6858000"/>
              <a:gd name="connsiteX331" fmla="*/ 3032506 w 9144000"/>
              <a:gd name="connsiteY331" fmla="*/ 6324346 h 6858000"/>
              <a:gd name="connsiteX332" fmla="*/ 3101848 w 9144000"/>
              <a:gd name="connsiteY332" fmla="*/ 6397371 h 6858000"/>
              <a:gd name="connsiteX333" fmla="*/ 3142869 w 9144000"/>
              <a:gd name="connsiteY333" fmla="*/ 6387084 h 6858000"/>
              <a:gd name="connsiteX334" fmla="*/ 3142869 w 9144000"/>
              <a:gd name="connsiteY334" fmla="*/ 6330823 h 6858000"/>
              <a:gd name="connsiteX335" fmla="*/ 3154553 w 9144000"/>
              <a:gd name="connsiteY335" fmla="*/ 6319520 h 6858000"/>
              <a:gd name="connsiteX336" fmla="*/ 3114548 w 9144000"/>
              <a:gd name="connsiteY336" fmla="*/ 6319520 h 6858000"/>
              <a:gd name="connsiteX337" fmla="*/ 3126486 w 9144000"/>
              <a:gd name="connsiteY337" fmla="*/ 6330823 h 6858000"/>
              <a:gd name="connsiteX338" fmla="*/ 3126486 w 9144000"/>
              <a:gd name="connsiteY338" fmla="*/ 6376670 h 6858000"/>
              <a:gd name="connsiteX339" fmla="*/ 3101975 w 9144000"/>
              <a:gd name="connsiteY339" fmla="*/ 6386703 h 6858000"/>
              <a:gd name="connsiteX340" fmla="*/ 3052191 w 9144000"/>
              <a:gd name="connsiteY340" fmla="*/ 6324219 h 6858000"/>
              <a:gd name="connsiteX341" fmla="*/ 3101975 w 9144000"/>
              <a:gd name="connsiteY341" fmla="*/ 6261735 h 6858000"/>
              <a:gd name="connsiteX342" fmla="*/ 3120136 w 9144000"/>
              <a:gd name="connsiteY342" fmla="*/ 6268593 h 6858000"/>
              <a:gd name="connsiteX343" fmla="*/ 3136519 w 9144000"/>
              <a:gd name="connsiteY343" fmla="*/ 6283960 h 6858000"/>
              <a:gd name="connsiteX344" fmla="*/ 3136519 w 9144000"/>
              <a:gd name="connsiteY344" fmla="*/ 6259449 h 6858000"/>
              <a:gd name="connsiteX345" fmla="*/ 3101848 w 9144000"/>
              <a:gd name="connsiteY345" fmla="*/ 6251321 h 6858000"/>
              <a:gd name="connsiteX346" fmla="*/ 3363976 w 9144000"/>
              <a:gd name="connsiteY346" fmla="*/ 6250051 h 6858000"/>
              <a:gd name="connsiteX347" fmla="*/ 3304286 w 9144000"/>
              <a:gd name="connsiteY347" fmla="*/ 6324346 h 6858000"/>
              <a:gd name="connsiteX348" fmla="*/ 3363976 w 9144000"/>
              <a:gd name="connsiteY348" fmla="*/ 6398641 h 6858000"/>
              <a:gd name="connsiteX349" fmla="*/ 3423920 w 9144000"/>
              <a:gd name="connsiteY349" fmla="*/ 6324346 h 6858000"/>
              <a:gd name="connsiteX350" fmla="*/ 3363976 w 9144000"/>
              <a:gd name="connsiteY350" fmla="*/ 6250051 h 6858000"/>
              <a:gd name="connsiteX351" fmla="*/ 0 w 9144000"/>
              <a:gd name="connsiteY351" fmla="*/ 0 h 6858000"/>
              <a:gd name="connsiteX352" fmla="*/ 9144000 w 9144000"/>
              <a:gd name="connsiteY352" fmla="*/ 0 h 6858000"/>
              <a:gd name="connsiteX353" fmla="*/ 9144000 w 9144000"/>
              <a:gd name="connsiteY353" fmla="*/ 380873 h 6858000"/>
              <a:gd name="connsiteX354" fmla="*/ 8779129 w 9144000"/>
              <a:gd name="connsiteY354" fmla="*/ 380873 h 6858000"/>
              <a:gd name="connsiteX355" fmla="*/ 8779129 w 9144000"/>
              <a:gd name="connsiteY355" fmla="*/ 547243 h 6858000"/>
              <a:gd name="connsiteX356" fmla="*/ 8896096 w 9144000"/>
              <a:gd name="connsiteY356" fmla="*/ 547243 h 6858000"/>
              <a:gd name="connsiteX357" fmla="*/ 8765540 w 9144000"/>
              <a:gd name="connsiteY357" fmla="*/ 1033018 h 6858000"/>
              <a:gd name="connsiteX358" fmla="*/ 8603488 w 9144000"/>
              <a:gd name="connsiteY358" fmla="*/ 380873 h 6858000"/>
              <a:gd name="connsiteX359" fmla="*/ 8434578 w 9144000"/>
              <a:gd name="connsiteY359" fmla="*/ 380873 h 6858000"/>
              <a:gd name="connsiteX360" fmla="*/ 8259319 w 9144000"/>
              <a:gd name="connsiteY360" fmla="*/ 1033018 h 6858000"/>
              <a:gd name="connsiteX361" fmla="*/ 8139049 w 9144000"/>
              <a:gd name="connsiteY361" fmla="*/ 547243 h 6858000"/>
              <a:gd name="connsiteX362" fmla="*/ 8260715 w 9144000"/>
              <a:gd name="connsiteY362" fmla="*/ 547243 h 6858000"/>
              <a:gd name="connsiteX363" fmla="*/ 8260715 w 9144000"/>
              <a:gd name="connsiteY363" fmla="*/ 380873 h 6858000"/>
              <a:gd name="connsiteX364" fmla="*/ 7772400 w 9144000"/>
              <a:gd name="connsiteY364" fmla="*/ 380873 h 6858000"/>
              <a:gd name="connsiteX365" fmla="*/ 7772400 w 9144000"/>
              <a:gd name="connsiteY365" fmla="*/ 547243 h 6858000"/>
              <a:gd name="connsiteX366" fmla="*/ 7880604 w 9144000"/>
              <a:gd name="connsiteY366" fmla="*/ 547243 h 6858000"/>
              <a:gd name="connsiteX367" fmla="*/ 8069581 w 9144000"/>
              <a:gd name="connsiteY367" fmla="*/ 1303147 h 6858000"/>
              <a:gd name="connsiteX368" fmla="*/ 8331708 w 9144000"/>
              <a:gd name="connsiteY368" fmla="*/ 1303147 h 6858000"/>
              <a:gd name="connsiteX369" fmla="*/ 8456803 w 9144000"/>
              <a:gd name="connsiteY369" fmla="*/ 827532 h 6858000"/>
              <a:gd name="connsiteX370" fmla="*/ 8575675 w 9144000"/>
              <a:gd name="connsiteY370" fmla="*/ 1303147 h 6858000"/>
              <a:gd name="connsiteX371" fmla="*/ 8837803 w 9144000"/>
              <a:gd name="connsiteY371" fmla="*/ 1303147 h 6858000"/>
              <a:gd name="connsiteX372" fmla="*/ 9036685 w 9144000"/>
              <a:gd name="connsiteY372" fmla="*/ 547243 h 6858000"/>
              <a:gd name="connsiteX373" fmla="*/ 9144000 w 9144000"/>
              <a:gd name="connsiteY373" fmla="*/ 547243 h 6858000"/>
              <a:gd name="connsiteX374" fmla="*/ 9144000 w 9144000"/>
              <a:gd name="connsiteY374" fmla="*/ 6858000 h 6858000"/>
              <a:gd name="connsiteX375" fmla="*/ 0 w 9144000"/>
              <a:gd name="connsiteY37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</a:cxnLst>
            <a:rect l="l" t="t" r="r" b="b"/>
            <a:pathLst>
              <a:path w="9144000" h="6858000">
                <a:moveTo>
                  <a:pt x="1950338" y="6312915"/>
                </a:moveTo>
                <a:cubicBezTo>
                  <a:pt x="1960752" y="6312915"/>
                  <a:pt x="1966975" y="6320535"/>
                  <a:pt x="1966975" y="6335902"/>
                </a:cubicBezTo>
                <a:cubicBezTo>
                  <a:pt x="1967483" y="6361937"/>
                  <a:pt x="1953005" y="6385559"/>
                  <a:pt x="1944242" y="6388353"/>
                </a:cubicBezTo>
                <a:cubicBezTo>
                  <a:pt x="1942464" y="6388988"/>
                  <a:pt x="1939797" y="6389750"/>
                  <a:pt x="1937638" y="6389750"/>
                </a:cubicBezTo>
                <a:cubicBezTo>
                  <a:pt x="1925827" y="6389750"/>
                  <a:pt x="1921001" y="6377812"/>
                  <a:pt x="1921001" y="6362826"/>
                </a:cubicBezTo>
                <a:cubicBezTo>
                  <a:pt x="1921001" y="6333235"/>
                  <a:pt x="1936622" y="6317233"/>
                  <a:pt x="1943226" y="6314566"/>
                </a:cubicBezTo>
                <a:cubicBezTo>
                  <a:pt x="1945131" y="6313804"/>
                  <a:pt x="1948052" y="6313042"/>
                  <a:pt x="1950084" y="6313042"/>
                </a:cubicBezTo>
                <a:close/>
                <a:moveTo>
                  <a:pt x="1956816" y="6305550"/>
                </a:moveTo>
                <a:cubicBezTo>
                  <a:pt x="1951355" y="6305550"/>
                  <a:pt x="1942719" y="6307963"/>
                  <a:pt x="1934083" y="6312789"/>
                </a:cubicBezTo>
                <a:cubicBezTo>
                  <a:pt x="1919605" y="6320917"/>
                  <a:pt x="1903857" y="6339586"/>
                  <a:pt x="1903857" y="6367653"/>
                </a:cubicBezTo>
                <a:cubicBezTo>
                  <a:pt x="1903857" y="6381750"/>
                  <a:pt x="1910715" y="6397371"/>
                  <a:pt x="1930400" y="6397371"/>
                </a:cubicBezTo>
                <a:cubicBezTo>
                  <a:pt x="1939671" y="6397371"/>
                  <a:pt x="1952879" y="6391656"/>
                  <a:pt x="1961642" y="6384036"/>
                </a:cubicBezTo>
                <a:lnTo>
                  <a:pt x="1961769" y="6384036"/>
                </a:lnTo>
                <a:cubicBezTo>
                  <a:pt x="1975612" y="6372098"/>
                  <a:pt x="1983740" y="6351397"/>
                  <a:pt x="1983740" y="6333617"/>
                </a:cubicBezTo>
                <a:cubicBezTo>
                  <a:pt x="1983740" y="6316853"/>
                  <a:pt x="1974469" y="6305550"/>
                  <a:pt x="1956816" y="6305550"/>
                </a:cubicBezTo>
                <a:close/>
                <a:moveTo>
                  <a:pt x="2431414" y="6284976"/>
                </a:moveTo>
                <a:lnTo>
                  <a:pt x="2451861" y="6343904"/>
                </a:lnTo>
                <a:lnTo>
                  <a:pt x="2410205" y="6343904"/>
                </a:lnTo>
                <a:close/>
                <a:moveTo>
                  <a:pt x="1264158" y="6263894"/>
                </a:moveTo>
                <a:lnTo>
                  <a:pt x="1282319" y="6263894"/>
                </a:lnTo>
                <a:cubicBezTo>
                  <a:pt x="1298321" y="6263894"/>
                  <a:pt x="1310894" y="6276975"/>
                  <a:pt x="1310894" y="6292342"/>
                </a:cubicBezTo>
                <a:cubicBezTo>
                  <a:pt x="1310894" y="6307709"/>
                  <a:pt x="1297940" y="6318631"/>
                  <a:pt x="1282319" y="6318631"/>
                </a:cubicBezTo>
                <a:lnTo>
                  <a:pt x="1264158" y="6318631"/>
                </a:lnTo>
                <a:close/>
                <a:moveTo>
                  <a:pt x="3364103" y="6261100"/>
                </a:moveTo>
                <a:cubicBezTo>
                  <a:pt x="3393948" y="6261100"/>
                  <a:pt x="3404489" y="6295136"/>
                  <a:pt x="3404489" y="6324473"/>
                </a:cubicBezTo>
                <a:cubicBezTo>
                  <a:pt x="3404489" y="6353810"/>
                  <a:pt x="3394075" y="6387846"/>
                  <a:pt x="3364103" y="6387846"/>
                </a:cubicBezTo>
                <a:cubicBezTo>
                  <a:pt x="3334131" y="6387846"/>
                  <a:pt x="3323844" y="6353810"/>
                  <a:pt x="3323844" y="6324473"/>
                </a:cubicBezTo>
                <a:cubicBezTo>
                  <a:pt x="3323844" y="6295136"/>
                  <a:pt x="3334258" y="6261100"/>
                  <a:pt x="3364103" y="6261100"/>
                </a:cubicBezTo>
                <a:close/>
                <a:moveTo>
                  <a:pt x="1499108" y="6253480"/>
                </a:moveTo>
                <a:lnTo>
                  <a:pt x="1511046" y="6264783"/>
                </a:lnTo>
                <a:lnTo>
                  <a:pt x="1511046" y="6384290"/>
                </a:lnTo>
                <a:lnTo>
                  <a:pt x="1499108" y="6395593"/>
                </a:lnTo>
                <a:lnTo>
                  <a:pt x="1539367" y="6395593"/>
                </a:lnTo>
                <a:lnTo>
                  <a:pt x="1527429" y="6384290"/>
                </a:lnTo>
                <a:lnTo>
                  <a:pt x="1527429" y="6264783"/>
                </a:lnTo>
                <a:lnTo>
                  <a:pt x="1539367" y="6253480"/>
                </a:lnTo>
                <a:close/>
                <a:moveTo>
                  <a:pt x="1235964" y="6253480"/>
                </a:moveTo>
                <a:lnTo>
                  <a:pt x="1247648" y="6264783"/>
                </a:lnTo>
                <a:lnTo>
                  <a:pt x="1247648" y="6384290"/>
                </a:lnTo>
                <a:lnTo>
                  <a:pt x="1235964" y="6395593"/>
                </a:lnTo>
                <a:lnTo>
                  <a:pt x="1275969" y="6395593"/>
                </a:lnTo>
                <a:lnTo>
                  <a:pt x="1264031" y="6384290"/>
                </a:lnTo>
                <a:lnTo>
                  <a:pt x="1264031" y="6329426"/>
                </a:lnTo>
                <a:lnTo>
                  <a:pt x="1286510" y="6329426"/>
                </a:lnTo>
                <a:lnTo>
                  <a:pt x="1322705" y="6395720"/>
                </a:lnTo>
                <a:lnTo>
                  <a:pt x="1322705" y="6395847"/>
                </a:lnTo>
                <a:lnTo>
                  <a:pt x="1347470" y="6395847"/>
                </a:lnTo>
                <a:lnTo>
                  <a:pt x="1335786" y="6384544"/>
                </a:lnTo>
                <a:lnTo>
                  <a:pt x="1302385" y="6326124"/>
                </a:lnTo>
                <a:cubicBezTo>
                  <a:pt x="1319022" y="6321298"/>
                  <a:pt x="1330452" y="6306312"/>
                  <a:pt x="1330452" y="6292850"/>
                </a:cubicBezTo>
                <a:cubicBezTo>
                  <a:pt x="1330452" y="6268720"/>
                  <a:pt x="1306957" y="6253480"/>
                  <a:pt x="1282192" y="6253480"/>
                </a:cubicBezTo>
                <a:close/>
                <a:moveTo>
                  <a:pt x="1107821" y="6253480"/>
                </a:moveTo>
                <a:lnTo>
                  <a:pt x="1119505" y="6264783"/>
                </a:lnTo>
                <a:lnTo>
                  <a:pt x="1119505" y="6384290"/>
                </a:lnTo>
                <a:lnTo>
                  <a:pt x="1107821" y="6395593"/>
                </a:lnTo>
                <a:lnTo>
                  <a:pt x="1197102" y="6395593"/>
                </a:lnTo>
                <a:lnTo>
                  <a:pt x="1197102" y="6369558"/>
                </a:lnTo>
                <a:lnTo>
                  <a:pt x="1181100" y="6384925"/>
                </a:lnTo>
                <a:lnTo>
                  <a:pt x="1135761" y="6384925"/>
                </a:lnTo>
                <a:lnTo>
                  <a:pt x="1135761" y="6325235"/>
                </a:lnTo>
                <a:lnTo>
                  <a:pt x="1169416" y="6325235"/>
                </a:lnTo>
                <a:lnTo>
                  <a:pt x="1181354" y="6336538"/>
                </a:lnTo>
                <a:lnTo>
                  <a:pt x="1181354" y="6303264"/>
                </a:lnTo>
                <a:lnTo>
                  <a:pt x="1169416" y="6314567"/>
                </a:lnTo>
                <a:lnTo>
                  <a:pt x="1135761" y="6314567"/>
                </a:lnTo>
                <a:lnTo>
                  <a:pt x="1135761" y="6263894"/>
                </a:lnTo>
                <a:lnTo>
                  <a:pt x="1181100" y="6263894"/>
                </a:lnTo>
                <a:lnTo>
                  <a:pt x="1197102" y="6279134"/>
                </a:lnTo>
                <a:lnTo>
                  <a:pt x="1197102" y="6253480"/>
                </a:lnTo>
                <a:close/>
                <a:moveTo>
                  <a:pt x="961263" y="6253480"/>
                </a:moveTo>
                <a:lnTo>
                  <a:pt x="973455" y="6264783"/>
                </a:lnTo>
                <a:lnTo>
                  <a:pt x="1015492" y="6395720"/>
                </a:lnTo>
                <a:lnTo>
                  <a:pt x="1023112" y="6395720"/>
                </a:lnTo>
                <a:lnTo>
                  <a:pt x="1066419" y="6264783"/>
                </a:lnTo>
                <a:lnTo>
                  <a:pt x="1066165" y="6264783"/>
                </a:lnTo>
                <a:lnTo>
                  <a:pt x="1078357" y="6253480"/>
                </a:lnTo>
                <a:lnTo>
                  <a:pt x="1042416" y="6253480"/>
                </a:lnTo>
                <a:lnTo>
                  <a:pt x="1054100" y="6264529"/>
                </a:lnTo>
                <a:lnTo>
                  <a:pt x="1022477" y="6362954"/>
                </a:lnTo>
                <a:lnTo>
                  <a:pt x="991870" y="6264529"/>
                </a:lnTo>
                <a:lnTo>
                  <a:pt x="1003554" y="6253480"/>
                </a:lnTo>
                <a:close/>
                <a:moveTo>
                  <a:pt x="887730" y="6253480"/>
                </a:moveTo>
                <a:lnTo>
                  <a:pt x="899668" y="6264783"/>
                </a:lnTo>
                <a:lnTo>
                  <a:pt x="899668" y="6384290"/>
                </a:lnTo>
                <a:lnTo>
                  <a:pt x="887730" y="6395593"/>
                </a:lnTo>
                <a:lnTo>
                  <a:pt x="927989" y="6395593"/>
                </a:lnTo>
                <a:lnTo>
                  <a:pt x="916051" y="6384290"/>
                </a:lnTo>
                <a:lnTo>
                  <a:pt x="916051" y="6264783"/>
                </a:lnTo>
                <a:lnTo>
                  <a:pt x="927989" y="6253480"/>
                </a:lnTo>
                <a:close/>
                <a:moveTo>
                  <a:pt x="568071" y="6253480"/>
                </a:moveTo>
                <a:lnTo>
                  <a:pt x="581025" y="6265672"/>
                </a:lnTo>
                <a:lnTo>
                  <a:pt x="581025" y="6357493"/>
                </a:lnTo>
                <a:cubicBezTo>
                  <a:pt x="581025" y="6380861"/>
                  <a:pt x="601726" y="6398768"/>
                  <a:pt x="627253" y="6398768"/>
                </a:cubicBezTo>
                <a:cubicBezTo>
                  <a:pt x="652780" y="6398768"/>
                  <a:pt x="675513" y="6381623"/>
                  <a:pt x="675513" y="6357493"/>
                </a:cubicBezTo>
                <a:lnTo>
                  <a:pt x="675513" y="6265672"/>
                </a:lnTo>
                <a:lnTo>
                  <a:pt x="675767" y="6265672"/>
                </a:lnTo>
                <a:lnTo>
                  <a:pt x="688340" y="6253480"/>
                </a:lnTo>
                <a:lnTo>
                  <a:pt x="649478" y="6253480"/>
                </a:lnTo>
                <a:lnTo>
                  <a:pt x="662305" y="6265672"/>
                </a:lnTo>
                <a:lnTo>
                  <a:pt x="662305" y="6357493"/>
                </a:lnTo>
                <a:cubicBezTo>
                  <a:pt x="662305" y="6373876"/>
                  <a:pt x="648589" y="6386957"/>
                  <a:pt x="631444" y="6386957"/>
                </a:cubicBezTo>
                <a:cubicBezTo>
                  <a:pt x="614299" y="6386957"/>
                  <a:pt x="598551" y="6374130"/>
                  <a:pt x="598551" y="6357493"/>
                </a:cubicBezTo>
                <a:lnTo>
                  <a:pt x="598551" y="6265672"/>
                </a:lnTo>
                <a:lnTo>
                  <a:pt x="611378" y="6253480"/>
                </a:lnTo>
                <a:close/>
                <a:moveTo>
                  <a:pt x="2797937" y="6253353"/>
                </a:moveTo>
                <a:lnTo>
                  <a:pt x="2809875" y="6264656"/>
                </a:lnTo>
                <a:lnTo>
                  <a:pt x="2809875" y="6384163"/>
                </a:lnTo>
                <a:lnTo>
                  <a:pt x="2797937" y="6395466"/>
                </a:lnTo>
                <a:lnTo>
                  <a:pt x="2838196" y="6395466"/>
                </a:lnTo>
                <a:lnTo>
                  <a:pt x="2826258" y="6384163"/>
                </a:lnTo>
                <a:lnTo>
                  <a:pt x="2826258" y="6264656"/>
                </a:lnTo>
                <a:lnTo>
                  <a:pt x="2838196" y="6253353"/>
                </a:lnTo>
                <a:close/>
                <a:moveTo>
                  <a:pt x="1701038" y="6253353"/>
                </a:moveTo>
                <a:lnTo>
                  <a:pt x="1713230" y="6264656"/>
                </a:lnTo>
                <a:lnTo>
                  <a:pt x="1713230" y="6264910"/>
                </a:lnTo>
                <a:lnTo>
                  <a:pt x="1750949" y="6329807"/>
                </a:lnTo>
                <a:lnTo>
                  <a:pt x="1750949" y="6384544"/>
                </a:lnTo>
                <a:lnTo>
                  <a:pt x="1739011" y="6395847"/>
                </a:lnTo>
                <a:lnTo>
                  <a:pt x="1779270" y="6395847"/>
                </a:lnTo>
                <a:lnTo>
                  <a:pt x="1767332" y="6384544"/>
                </a:lnTo>
                <a:lnTo>
                  <a:pt x="1767332" y="6329553"/>
                </a:lnTo>
                <a:lnTo>
                  <a:pt x="1805813" y="6264910"/>
                </a:lnTo>
                <a:lnTo>
                  <a:pt x="1805686" y="6264910"/>
                </a:lnTo>
                <a:lnTo>
                  <a:pt x="1818005" y="6253353"/>
                </a:lnTo>
                <a:lnTo>
                  <a:pt x="1781175" y="6253353"/>
                </a:lnTo>
                <a:lnTo>
                  <a:pt x="1792859" y="6264402"/>
                </a:lnTo>
                <a:lnTo>
                  <a:pt x="1761490" y="6317742"/>
                </a:lnTo>
                <a:lnTo>
                  <a:pt x="1731645" y="6264402"/>
                </a:lnTo>
                <a:lnTo>
                  <a:pt x="1743329" y="6253353"/>
                </a:lnTo>
                <a:close/>
                <a:moveTo>
                  <a:pt x="1573911" y="6253353"/>
                </a:moveTo>
                <a:lnTo>
                  <a:pt x="1573911" y="6279134"/>
                </a:lnTo>
                <a:lnTo>
                  <a:pt x="1590040" y="6263894"/>
                </a:lnTo>
                <a:lnTo>
                  <a:pt x="1618107" y="6263894"/>
                </a:lnTo>
                <a:lnTo>
                  <a:pt x="1618107" y="6384163"/>
                </a:lnTo>
                <a:lnTo>
                  <a:pt x="1606423" y="6395466"/>
                </a:lnTo>
                <a:lnTo>
                  <a:pt x="1646428" y="6395466"/>
                </a:lnTo>
                <a:lnTo>
                  <a:pt x="1634617" y="6384290"/>
                </a:lnTo>
                <a:lnTo>
                  <a:pt x="1634617" y="6263894"/>
                </a:lnTo>
                <a:lnTo>
                  <a:pt x="1662938" y="6263894"/>
                </a:lnTo>
                <a:lnTo>
                  <a:pt x="1678940" y="6279134"/>
                </a:lnTo>
                <a:lnTo>
                  <a:pt x="1678940" y="6253353"/>
                </a:lnTo>
                <a:close/>
                <a:moveTo>
                  <a:pt x="722884" y="6253353"/>
                </a:moveTo>
                <a:lnTo>
                  <a:pt x="735457" y="6265545"/>
                </a:lnTo>
                <a:lnTo>
                  <a:pt x="735457" y="6383274"/>
                </a:lnTo>
                <a:lnTo>
                  <a:pt x="722884" y="6395466"/>
                </a:lnTo>
                <a:lnTo>
                  <a:pt x="761873" y="6395466"/>
                </a:lnTo>
                <a:lnTo>
                  <a:pt x="749046" y="6383274"/>
                </a:lnTo>
                <a:lnTo>
                  <a:pt x="749046" y="6276721"/>
                </a:lnTo>
                <a:lnTo>
                  <a:pt x="829056" y="6395593"/>
                </a:lnTo>
                <a:lnTo>
                  <a:pt x="834263" y="6395593"/>
                </a:lnTo>
                <a:lnTo>
                  <a:pt x="834263" y="6265672"/>
                </a:lnTo>
                <a:lnTo>
                  <a:pt x="834263" y="6265545"/>
                </a:lnTo>
                <a:lnTo>
                  <a:pt x="847090" y="6253353"/>
                </a:lnTo>
                <a:lnTo>
                  <a:pt x="808101" y="6253353"/>
                </a:lnTo>
                <a:lnTo>
                  <a:pt x="820928" y="6265545"/>
                </a:lnTo>
                <a:lnTo>
                  <a:pt x="820928" y="6355969"/>
                </a:lnTo>
                <a:lnTo>
                  <a:pt x="753745" y="6253353"/>
                </a:lnTo>
                <a:close/>
                <a:moveTo>
                  <a:pt x="3453003" y="6253226"/>
                </a:moveTo>
                <a:lnTo>
                  <a:pt x="3465576" y="6265418"/>
                </a:lnTo>
                <a:lnTo>
                  <a:pt x="3465576" y="6383147"/>
                </a:lnTo>
                <a:lnTo>
                  <a:pt x="3453003" y="6395339"/>
                </a:lnTo>
                <a:lnTo>
                  <a:pt x="3491992" y="6395339"/>
                </a:lnTo>
                <a:lnTo>
                  <a:pt x="3479165" y="6383147"/>
                </a:lnTo>
                <a:lnTo>
                  <a:pt x="3479165" y="6276594"/>
                </a:lnTo>
                <a:lnTo>
                  <a:pt x="3556889" y="6395466"/>
                </a:lnTo>
                <a:lnTo>
                  <a:pt x="3564509" y="6395466"/>
                </a:lnTo>
                <a:lnTo>
                  <a:pt x="3564509" y="6265545"/>
                </a:lnTo>
                <a:lnTo>
                  <a:pt x="3564382" y="6265418"/>
                </a:lnTo>
                <a:lnTo>
                  <a:pt x="3577209" y="6253226"/>
                </a:lnTo>
                <a:lnTo>
                  <a:pt x="3538220" y="6253226"/>
                </a:lnTo>
                <a:lnTo>
                  <a:pt x="3551047" y="6265418"/>
                </a:lnTo>
                <a:lnTo>
                  <a:pt x="3551047" y="6355842"/>
                </a:lnTo>
                <a:lnTo>
                  <a:pt x="3483991" y="6253226"/>
                </a:lnTo>
                <a:close/>
                <a:moveTo>
                  <a:pt x="3176143" y="6253226"/>
                </a:moveTo>
                <a:lnTo>
                  <a:pt x="3176143" y="6279007"/>
                </a:lnTo>
                <a:lnTo>
                  <a:pt x="3192272" y="6263767"/>
                </a:lnTo>
                <a:lnTo>
                  <a:pt x="3220339" y="6263767"/>
                </a:lnTo>
                <a:lnTo>
                  <a:pt x="3220339" y="6384036"/>
                </a:lnTo>
                <a:lnTo>
                  <a:pt x="3208655" y="6395339"/>
                </a:lnTo>
                <a:lnTo>
                  <a:pt x="3248660" y="6395339"/>
                </a:lnTo>
                <a:lnTo>
                  <a:pt x="3236722" y="6384036"/>
                </a:lnTo>
                <a:lnTo>
                  <a:pt x="3236722" y="6263767"/>
                </a:lnTo>
                <a:lnTo>
                  <a:pt x="3265043" y="6263767"/>
                </a:lnTo>
                <a:lnTo>
                  <a:pt x="3281045" y="6279007"/>
                </a:lnTo>
                <a:lnTo>
                  <a:pt x="3281172" y="6279007"/>
                </a:lnTo>
                <a:lnTo>
                  <a:pt x="3281172" y="6253226"/>
                </a:lnTo>
                <a:close/>
                <a:moveTo>
                  <a:pt x="2878963" y="6253226"/>
                </a:moveTo>
                <a:lnTo>
                  <a:pt x="2891536" y="6265418"/>
                </a:lnTo>
                <a:lnTo>
                  <a:pt x="2891536" y="6383147"/>
                </a:lnTo>
                <a:lnTo>
                  <a:pt x="2878963" y="6395339"/>
                </a:lnTo>
                <a:lnTo>
                  <a:pt x="2917952" y="6395339"/>
                </a:lnTo>
                <a:cubicBezTo>
                  <a:pt x="2917952" y="6395339"/>
                  <a:pt x="2905125" y="6383020"/>
                  <a:pt x="2905125" y="6383020"/>
                </a:cubicBezTo>
                <a:lnTo>
                  <a:pt x="2905125" y="6276594"/>
                </a:lnTo>
                <a:lnTo>
                  <a:pt x="2983611" y="6395593"/>
                </a:lnTo>
                <a:lnTo>
                  <a:pt x="2990342" y="6395593"/>
                </a:lnTo>
                <a:lnTo>
                  <a:pt x="2990342" y="6265545"/>
                </a:lnTo>
                <a:lnTo>
                  <a:pt x="2990342" y="6265418"/>
                </a:lnTo>
                <a:lnTo>
                  <a:pt x="3003169" y="6253226"/>
                </a:lnTo>
                <a:lnTo>
                  <a:pt x="2964180" y="6253226"/>
                </a:lnTo>
                <a:lnTo>
                  <a:pt x="2977007" y="6265418"/>
                </a:lnTo>
                <a:lnTo>
                  <a:pt x="2977007" y="6355842"/>
                </a:lnTo>
                <a:lnTo>
                  <a:pt x="2909824" y="6253226"/>
                </a:lnTo>
                <a:close/>
                <a:moveTo>
                  <a:pt x="2637409" y="6253226"/>
                </a:moveTo>
                <a:lnTo>
                  <a:pt x="2649093" y="6264529"/>
                </a:lnTo>
                <a:lnTo>
                  <a:pt x="2649093" y="6384036"/>
                </a:lnTo>
                <a:lnTo>
                  <a:pt x="2637409" y="6395339"/>
                </a:lnTo>
                <a:lnTo>
                  <a:pt x="2677414" y="6395339"/>
                </a:lnTo>
                <a:lnTo>
                  <a:pt x="2665476" y="6384036"/>
                </a:lnTo>
                <a:lnTo>
                  <a:pt x="2665476" y="6324092"/>
                </a:lnTo>
                <a:lnTo>
                  <a:pt x="2728214" y="6324092"/>
                </a:lnTo>
                <a:lnTo>
                  <a:pt x="2728214" y="6384163"/>
                </a:lnTo>
                <a:lnTo>
                  <a:pt x="2716276" y="6395466"/>
                </a:lnTo>
                <a:lnTo>
                  <a:pt x="2756535" y="6395466"/>
                </a:lnTo>
                <a:lnTo>
                  <a:pt x="2744597" y="6384163"/>
                </a:lnTo>
                <a:lnTo>
                  <a:pt x="2744597" y="6264529"/>
                </a:lnTo>
                <a:lnTo>
                  <a:pt x="2756535" y="6253226"/>
                </a:lnTo>
                <a:lnTo>
                  <a:pt x="2716276" y="6253226"/>
                </a:lnTo>
                <a:lnTo>
                  <a:pt x="2728214" y="6264529"/>
                </a:lnTo>
                <a:lnTo>
                  <a:pt x="2728214" y="6313424"/>
                </a:lnTo>
                <a:lnTo>
                  <a:pt x="2665476" y="6313424"/>
                </a:lnTo>
                <a:lnTo>
                  <a:pt x="2665476" y="6264529"/>
                </a:lnTo>
                <a:lnTo>
                  <a:pt x="2677414" y="6253226"/>
                </a:lnTo>
                <a:close/>
                <a:moveTo>
                  <a:pt x="2430907" y="6253226"/>
                </a:moveTo>
                <a:lnTo>
                  <a:pt x="2383536" y="6383909"/>
                </a:lnTo>
                <a:lnTo>
                  <a:pt x="2371344" y="6395466"/>
                </a:lnTo>
                <a:lnTo>
                  <a:pt x="2407285" y="6395466"/>
                </a:lnTo>
                <a:lnTo>
                  <a:pt x="2395601" y="6384417"/>
                </a:lnTo>
                <a:lnTo>
                  <a:pt x="2406396" y="6354318"/>
                </a:lnTo>
                <a:lnTo>
                  <a:pt x="2455799" y="6354318"/>
                </a:lnTo>
                <a:lnTo>
                  <a:pt x="2466086" y="6384417"/>
                </a:lnTo>
                <a:lnTo>
                  <a:pt x="2454402" y="6395466"/>
                </a:lnTo>
                <a:lnTo>
                  <a:pt x="2454656" y="6395466"/>
                </a:lnTo>
                <a:lnTo>
                  <a:pt x="2496947" y="6395466"/>
                </a:lnTo>
                <a:lnTo>
                  <a:pt x="2485009" y="6383909"/>
                </a:lnTo>
                <a:lnTo>
                  <a:pt x="2438527" y="6253226"/>
                </a:lnTo>
                <a:close/>
                <a:moveTo>
                  <a:pt x="2175256" y="6253226"/>
                </a:moveTo>
                <a:lnTo>
                  <a:pt x="2187448" y="6264529"/>
                </a:lnTo>
                <a:lnTo>
                  <a:pt x="2229485" y="6395466"/>
                </a:lnTo>
                <a:lnTo>
                  <a:pt x="2236851" y="6395466"/>
                </a:lnTo>
                <a:lnTo>
                  <a:pt x="2271014" y="6292469"/>
                </a:lnTo>
                <a:lnTo>
                  <a:pt x="2304161" y="6395466"/>
                </a:lnTo>
                <a:lnTo>
                  <a:pt x="2311781" y="6395466"/>
                </a:lnTo>
                <a:lnTo>
                  <a:pt x="2355088" y="6264529"/>
                </a:lnTo>
                <a:lnTo>
                  <a:pt x="2367280" y="6253226"/>
                </a:lnTo>
                <a:lnTo>
                  <a:pt x="2331339" y="6253226"/>
                </a:lnTo>
                <a:lnTo>
                  <a:pt x="2343023" y="6264275"/>
                </a:lnTo>
                <a:lnTo>
                  <a:pt x="2311400" y="6362700"/>
                </a:lnTo>
                <a:lnTo>
                  <a:pt x="2280793" y="6264275"/>
                </a:lnTo>
                <a:lnTo>
                  <a:pt x="2292477" y="6253226"/>
                </a:lnTo>
                <a:lnTo>
                  <a:pt x="2250186" y="6253226"/>
                </a:lnTo>
                <a:lnTo>
                  <a:pt x="2262124" y="6264529"/>
                </a:lnTo>
                <a:lnTo>
                  <a:pt x="2265045" y="6273927"/>
                </a:lnTo>
                <a:lnTo>
                  <a:pt x="2236470" y="6362700"/>
                </a:lnTo>
                <a:lnTo>
                  <a:pt x="2205863" y="6264275"/>
                </a:lnTo>
                <a:lnTo>
                  <a:pt x="2217547" y="6253226"/>
                </a:lnTo>
                <a:close/>
                <a:moveTo>
                  <a:pt x="1416685" y="6252845"/>
                </a:moveTo>
                <a:cubicBezTo>
                  <a:pt x="1390650" y="6252845"/>
                  <a:pt x="1378712" y="6274054"/>
                  <a:pt x="1378712" y="6287770"/>
                </a:cubicBezTo>
                <a:cubicBezTo>
                  <a:pt x="1378712" y="6298565"/>
                  <a:pt x="1384554" y="6310884"/>
                  <a:pt x="1398016" y="6320282"/>
                </a:cubicBezTo>
                <a:lnTo>
                  <a:pt x="1428623" y="6341237"/>
                </a:lnTo>
                <a:cubicBezTo>
                  <a:pt x="1436878" y="6346698"/>
                  <a:pt x="1439164" y="6354953"/>
                  <a:pt x="1439164" y="6361938"/>
                </a:cubicBezTo>
                <a:cubicBezTo>
                  <a:pt x="1439164" y="6373876"/>
                  <a:pt x="1431290" y="6386957"/>
                  <a:pt x="1414399" y="6386957"/>
                </a:cubicBezTo>
                <a:cubicBezTo>
                  <a:pt x="1410462" y="6386957"/>
                  <a:pt x="1406906" y="6386322"/>
                  <a:pt x="1404112" y="6385052"/>
                </a:cubicBezTo>
                <a:lnTo>
                  <a:pt x="1390015" y="6369177"/>
                </a:lnTo>
                <a:lnTo>
                  <a:pt x="1377188" y="6391402"/>
                </a:lnTo>
                <a:lnTo>
                  <a:pt x="1405763" y="6396736"/>
                </a:lnTo>
                <a:lnTo>
                  <a:pt x="1414484" y="6397621"/>
                </a:lnTo>
                <a:lnTo>
                  <a:pt x="1414145" y="6397752"/>
                </a:lnTo>
                <a:lnTo>
                  <a:pt x="1414526" y="6397625"/>
                </a:lnTo>
                <a:lnTo>
                  <a:pt x="1414484" y="6397621"/>
                </a:lnTo>
                <a:lnTo>
                  <a:pt x="1441672" y="6387084"/>
                </a:lnTo>
                <a:cubicBezTo>
                  <a:pt x="1449800" y="6380068"/>
                  <a:pt x="1455674" y="6369685"/>
                  <a:pt x="1455674" y="6356223"/>
                </a:cubicBezTo>
                <a:cubicBezTo>
                  <a:pt x="1455674" y="6342253"/>
                  <a:pt x="1448689" y="6333617"/>
                  <a:pt x="1441704" y="6329045"/>
                </a:cubicBezTo>
                <a:lnTo>
                  <a:pt x="1411351" y="6308090"/>
                </a:lnTo>
                <a:cubicBezTo>
                  <a:pt x="1400556" y="6300597"/>
                  <a:pt x="1394968" y="6290945"/>
                  <a:pt x="1394968" y="6283706"/>
                </a:cubicBezTo>
                <a:cubicBezTo>
                  <a:pt x="1394968" y="6268720"/>
                  <a:pt x="1408430" y="6263386"/>
                  <a:pt x="1416558" y="6263386"/>
                </a:cubicBezTo>
                <a:cubicBezTo>
                  <a:pt x="1420876" y="6263386"/>
                  <a:pt x="1423924" y="6265037"/>
                  <a:pt x="1426210" y="6265037"/>
                </a:cubicBezTo>
                <a:lnTo>
                  <a:pt x="1439418" y="6278499"/>
                </a:lnTo>
                <a:lnTo>
                  <a:pt x="1453388" y="6258814"/>
                </a:lnTo>
                <a:lnTo>
                  <a:pt x="1423797" y="6253480"/>
                </a:lnTo>
                <a:cubicBezTo>
                  <a:pt x="1421765" y="6253099"/>
                  <a:pt x="1420495" y="6252845"/>
                  <a:pt x="1416685" y="6252845"/>
                </a:cubicBezTo>
                <a:close/>
                <a:moveTo>
                  <a:pt x="2558923" y="6252591"/>
                </a:moveTo>
                <a:cubicBezTo>
                  <a:pt x="2532888" y="6252591"/>
                  <a:pt x="2520950" y="6273800"/>
                  <a:pt x="2520950" y="6287516"/>
                </a:cubicBezTo>
                <a:cubicBezTo>
                  <a:pt x="2520950" y="6298311"/>
                  <a:pt x="2526792" y="6310630"/>
                  <a:pt x="2540254" y="6320028"/>
                </a:cubicBezTo>
                <a:lnTo>
                  <a:pt x="2570861" y="6340983"/>
                </a:lnTo>
                <a:cubicBezTo>
                  <a:pt x="2579116" y="6346444"/>
                  <a:pt x="2581402" y="6354699"/>
                  <a:pt x="2581402" y="6361684"/>
                </a:cubicBezTo>
                <a:cubicBezTo>
                  <a:pt x="2581402" y="6373622"/>
                  <a:pt x="2573528" y="6386703"/>
                  <a:pt x="2556637" y="6386703"/>
                </a:cubicBezTo>
                <a:cubicBezTo>
                  <a:pt x="2552700" y="6386703"/>
                  <a:pt x="2549144" y="6386068"/>
                  <a:pt x="2546350" y="6384798"/>
                </a:cubicBezTo>
                <a:lnTo>
                  <a:pt x="2532253" y="6368923"/>
                </a:lnTo>
                <a:lnTo>
                  <a:pt x="2519426" y="6391148"/>
                </a:lnTo>
                <a:lnTo>
                  <a:pt x="2548001" y="6396482"/>
                </a:lnTo>
                <a:cubicBezTo>
                  <a:pt x="2548001" y="6396482"/>
                  <a:pt x="2552827" y="6397371"/>
                  <a:pt x="2556891" y="6397371"/>
                </a:cubicBezTo>
                <a:lnTo>
                  <a:pt x="2556637" y="6397498"/>
                </a:lnTo>
                <a:cubicBezTo>
                  <a:pt x="2574671" y="6397498"/>
                  <a:pt x="2598166" y="6382893"/>
                  <a:pt x="2598166" y="6355969"/>
                </a:cubicBezTo>
                <a:lnTo>
                  <a:pt x="2597912" y="6355969"/>
                </a:lnTo>
                <a:cubicBezTo>
                  <a:pt x="2597912" y="6341999"/>
                  <a:pt x="2590927" y="6333363"/>
                  <a:pt x="2583942" y="6328791"/>
                </a:cubicBezTo>
                <a:lnTo>
                  <a:pt x="2553589" y="6307836"/>
                </a:lnTo>
                <a:cubicBezTo>
                  <a:pt x="2542794" y="6300343"/>
                  <a:pt x="2537206" y="6290691"/>
                  <a:pt x="2537206" y="6283452"/>
                </a:cubicBezTo>
                <a:cubicBezTo>
                  <a:pt x="2537206" y="6268466"/>
                  <a:pt x="2550668" y="6263132"/>
                  <a:pt x="2558796" y="6263132"/>
                </a:cubicBezTo>
                <a:cubicBezTo>
                  <a:pt x="2563114" y="6263132"/>
                  <a:pt x="2566162" y="6264783"/>
                  <a:pt x="2568448" y="6264783"/>
                </a:cubicBezTo>
                <a:lnTo>
                  <a:pt x="2581656" y="6278245"/>
                </a:lnTo>
                <a:lnTo>
                  <a:pt x="2595626" y="6258560"/>
                </a:lnTo>
                <a:lnTo>
                  <a:pt x="2566035" y="6253226"/>
                </a:lnTo>
                <a:cubicBezTo>
                  <a:pt x="2564003" y="6252845"/>
                  <a:pt x="2562733" y="6252591"/>
                  <a:pt x="2558923" y="6252591"/>
                </a:cubicBezTo>
                <a:close/>
                <a:moveTo>
                  <a:pt x="2079371" y="6252464"/>
                </a:moveTo>
                <a:cubicBezTo>
                  <a:pt x="2067179" y="6252464"/>
                  <a:pt x="2054352" y="6259195"/>
                  <a:pt x="2045589" y="6269228"/>
                </a:cubicBezTo>
                <a:cubicBezTo>
                  <a:pt x="2037461" y="6278626"/>
                  <a:pt x="2031873" y="6293739"/>
                  <a:pt x="2028952" y="6309995"/>
                </a:cubicBezTo>
                <a:cubicBezTo>
                  <a:pt x="2028952" y="6309995"/>
                  <a:pt x="2015363" y="6309995"/>
                  <a:pt x="2015363" y="6309995"/>
                </a:cubicBezTo>
                <a:lnTo>
                  <a:pt x="2015363" y="6310249"/>
                </a:lnTo>
                <a:lnTo>
                  <a:pt x="2009648" y="6315456"/>
                </a:lnTo>
                <a:lnTo>
                  <a:pt x="2010283" y="6317488"/>
                </a:lnTo>
                <a:lnTo>
                  <a:pt x="2027809" y="6317488"/>
                </a:lnTo>
                <a:cubicBezTo>
                  <a:pt x="2025142" y="6335522"/>
                  <a:pt x="2022602" y="6351143"/>
                  <a:pt x="2018538" y="6376289"/>
                </a:cubicBezTo>
                <a:cubicBezTo>
                  <a:pt x="2012823" y="6413754"/>
                  <a:pt x="2008124" y="6426962"/>
                  <a:pt x="2004060" y="6430137"/>
                </a:cubicBezTo>
                <a:cubicBezTo>
                  <a:pt x="2002790" y="6431407"/>
                  <a:pt x="2000758" y="6431915"/>
                  <a:pt x="1998853" y="6431915"/>
                </a:cubicBezTo>
                <a:cubicBezTo>
                  <a:pt x="1996313" y="6431915"/>
                  <a:pt x="1992376" y="6430137"/>
                  <a:pt x="1989582" y="6428994"/>
                </a:cubicBezTo>
                <a:cubicBezTo>
                  <a:pt x="1987042" y="6427724"/>
                  <a:pt x="1984883" y="6429248"/>
                  <a:pt x="1983740" y="6430391"/>
                </a:cubicBezTo>
                <a:cubicBezTo>
                  <a:pt x="1982089" y="6432296"/>
                  <a:pt x="1980184" y="6435090"/>
                  <a:pt x="1980184" y="6437249"/>
                </a:cubicBezTo>
                <a:cubicBezTo>
                  <a:pt x="1980184" y="6441186"/>
                  <a:pt x="1985645" y="6443218"/>
                  <a:pt x="1989201" y="6443218"/>
                </a:cubicBezTo>
                <a:cubicBezTo>
                  <a:pt x="1993265" y="6443218"/>
                  <a:pt x="2003298" y="6440043"/>
                  <a:pt x="2012315" y="6429375"/>
                </a:cubicBezTo>
                <a:cubicBezTo>
                  <a:pt x="2019554" y="6420993"/>
                  <a:pt x="2029079" y="6401562"/>
                  <a:pt x="2037334" y="6356223"/>
                </a:cubicBezTo>
                <a:cubicBezTo>
                  <a:pt x="2038731" y="6347841"/>
                  <a:pt x="2040509" y="6339459"/>
                  <a:pt x="2044065" y="6317361"/>
                </a:cubicBezTo>
                <a:lnTo>
                  <a:pt x="2065528" y="6315329"/>
                </a:lnTo>
                <a:lnTo>
                  <a:pt x="2070227" y="6310122"/>
                </a:lnTo>
                <a:lnTo>
                  <a:pt x="2045462" y="6310122"/>
                </a:lnTo>
                <a:cubicBezTo>
                  <a:pt x="2051812" y="6273038"/>
                  <a:pt x="2057019" y="6261862"/>
                  <a:pt x="2066036" y="6261862"/>
                </a:cubicBezTo>
                <a:cubicBezTo>
                  <a:pt x="2072259" y="6261862"/>
                  <a:pt x="2077466" y="6264275"/>
                  <a:pt x="2082165" y="6268466"/>
                </a:cubicBezTo>
                <a:cubicBezTo>
                  <a:pt x="2083562" y="6269736"/>
                  <a:pt x="2085975" y="6269736"/>
                  <a:pt x="2088007" y="6268212"/>
                </a:cubicBezTo>
                <a:lnTo>
                  <a:pt x="2087753" y="6268212"/>
                </a:lnTo>
                <a:cubicBezTo>
                  <a:pt x="2089404" y="6266815"/>
                  <a:pt x="2091944" y="6263513"/>
                  <a:pt x="2091944" y="6260846"/>
                </a:cubicBezTo>
                <a:cubicBezTo>
                  <a:pt x="2092198" y="6256909"/>
                  <a:pt x="2086483" y="6252464"/>
                  <a:pt x="2079371" y="6252464"/>
                </a:cubicBezTo>
                <a:close/>
                <a:moveTo>
                  <a:pt x="3101848" y="6251321"/>
                </a:moveTo>
                <a:cubicBezTo>
                  <a:pt x="3061208" y="6251321"/>
                  <a:pt x="3032506" y="6285992"/>
                  <a:pt x="3032506" y="6324346"/>
                </a:cubicBezTo>
                <a:cubicBezTo>
                  <a:pt x="3032506" y="6362700"/>
                  <a:pt x="3061081" y="6397371"/>
                  <a:pt x="3101848" y="6397371"/>
                </a:cubicBezTo>
                <a:cubicBezTo>
                  <a:pt x="3124962" y="6397371"/>
                  <a:pt x="3134614" y="6392037"/>
                  <a:pt x="3142869" y="6387084"/>
                </a:cubicBezTo>
                <a:lnTo>
                  <a:pt x="3142869" y="6330823"/>
                </a:lnTo>
                <a:lnTo>
                  <a:pt x="3154553" y="6319520"/>
                </a:lnTo>
                <a:lnTo>
                  <a:pt x="3114548" y="6319520"/>
                </a:lnTo>
                <a:lnTo>
                  <a:pt x="3126486" y="6330823"/>
                </a:lnTo>
                <a:lnTo>
                  <a:pt x="3126486" y="6376670"/>
                </a:lnTo>
                <a:cubicBezTo>
                  <a:pt x="3122930" y="6379972"/>
                  <a:pt x="3115945" y="6386703"/>
                  <a:pt x="3101975" y="6386703"/>
                </a:cubicBezTo>
                <a:cubicBezTo>
                  <a:pt x="3068828" y="6386703"/>
                  <a:pt x="3052191" y="6354826"/>
                  <a:pt x="3052191" y="6324219"/>
                </a:cubicBezTo>
                <a:cubicBezTo>
                  <a:pt x="3052191" y="6293612"/>
                  <a:pt x="3073146" y="6261735"/>
                  <a:pt x="3101975" y="6261735"/>
                </a:cubicBezTo>
                <a:cubicBezTo>
                  <a:pt x="3109595" y="6261735"/>
                  <a:pt x="3115183" y="6263513"/>
                  <a:pt x="3120136" y="6268593"/>
                </a:cubicBezTo>
                <a:lnTo>
                  <a:pt x="3136519" y="6283960"/>
                </a:lnTo>
                <a:lnTo>
                  <a:pt x="3136519" y="6259449"/>
                </a:lnTo>
                <a:cubicBezTo>
                  <a:pt x="3127629" y="6255131"/>
                  <a:pt x="3118739" y="6251321"/>
                  <a:pt x="3101848" y="6251321"/>
                </a:cubicBezTo>
                <a:close/>
                <a:moveTo>
                  <a:pt x="3363976" y="6250051"/>
                </a:moveTo>
                <a:cubicBezTo>
                  <a:pt x="3325622" y="6250051"/>
                  <a:pt x="3304286" y="6288151"/>
                  <a:pt x="3304286" y="6324346"/>
                </a:cubicBezTo>
                <a:cubicBezTo>
                  <a:pt x="3304286" y="6360541"/>
                  <a:pt x="3325749" y="6398641"/>
                  <a:pt x="3363976" y="6398641"/>
                </a:cubicBezTo>
                <a:cubicBezTo>
                  <a:pt x="3402203" y="6398641"/>
                  <a:pt x="3423920" y="6360541"/>
                  <a:pt x="3423920" y="6324346"/>
                </a:cubicBezTo>
                <a:cubicBezTo>
                  <a:pt x="3423920" y="6288151"/>
                  <a:pt x="3402330" y="6250051"/>
                  <a:pt x="3363976" y="6250051"/>
                </a:cubicBez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380873"/>
                </a:lnTo>
                <a:lnTo>
                  <a:pt x="8779129" y="380873"/>
                </a:lnTo>
                <a:lnTo>
                  <a:pt x="8779129" y="547243"/>
                </a:lnTo>
                <a:lnTo>
                  <a:pt x="8896096" y="547243"/>
                </a:lnTo>
                <a:lnTo>
                  <a:pt x="8765540" y="1033018"/>
                </a:lnTo>
                <a:cubicBezTo>
                  <a:pt x="8765540" y="1033018"/>
                  <a:pt x="8605774" y="389890"/>
                  <a:pt x="8603488" y="380873"/>
                </a:cubicBezTo>
                <a:lnTo>
                  <a:pt x="8434578" y="380873"/>
                </a:lnTo>
                <a:cubicBezTo>
                  <a:pt x="8432165" y="389636"/>
                  <a:pt x="8259319" y="1033018"/>
                  <a:pt x="8259319" y="1033018"/>
                </a:cubicBezTo>
                <a:lnTo>
                  <a:pt x="8139049" y="547243"/>
                </a:lnTo>
                <a:lnTo>
                  <a:pt x="8260715" y="547243"/>
                </a:lnTo>
                <a:lnTo>
                  <a:pt x="8260715" y="380873"/>
                </a:lnTo>
                <a:lnTo>
                  <a:pt x="7772400" y="380873"/>
                </a:lnTo>
                <a:lnTo>
                  <a:pt x="7772400" y="547243"/>
                </a:lnTo>
                <a:lnTo>
                  <a:pt x="7880604" y="547243"/>
                </a:lnTo>
                <a:cubicBezTo>
                  <a:pt x="7880604" y="547243"/>
                  <a:pt x="8067294" y="1294130"/>
                  <a:pt x="8069581" y="1303147"/>
                </a:cubicBezTo>
                <a:lnTo>
                  <a:pt x="8331708" y="1303147"/>
                </a:lnTo>
                <a:cubicBezTo>
                  <a:pt x="8333994" y="1294384"/>
                  <a:pt x="8456803" y="827532"/>
                  <a:pt x="8456803" y="827532"/>
                </a:cubicBezTo>
                <a:cubicBezTo>
                  <a:pt x="8456803" y="827532"/>
                  <a:pt x="8573389" y="1294130"/>
                  <a:pt x="8575675" y="1303147"/>
                </a:cubicBezTo>
                <a:lnTo>
                  <a:pt x="8837803" y="1303147"/>
                </a:lnTo>
                <a:cubicBezTo>
                  <a:pt x="8840216" y="1294257"/>
                  <a:pt x="9036685" y="547243"/>
                  <a:pt x="9036685" y="547243"/>
                </a:cubicBezTo>
                <a:lnTo>
                  <a:pt x="9144000" y="547243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4">
              <a:lumMod val="40000"/>
              <a:lumOff val="60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772577" y="1831426"/>
            <a:ext cx="10646844" cy="3195149"/>
          </a:xfrm>
          <a:prstGeom prst="rect">
            <a:avLst/>
          </a:prstGeom>
        </p:spPr>
        <p:txBody>
          <a:bodyPr anchor="ctr"/>
          <a:lstStyle>
            <a:lvl1pPr algn="ctr">
              <a:defRPr sz="6500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BRAND POWERPOINT TEMPLATE </a:t>
            </a:r>
          </a:p>
        </p:txBody>
      </p:sp>
    </p:spTree>
    <p:extLst>
      <p:ext uri="{BB962C8B-B14F-4D97-AF65-F5344CB8AC3E}">
        <p14:creationId xmlns:p14="http://schemas.microsoft.com/office/powerpoint/2010/main" val="19685270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36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BF04F8D-DF1C-573B-F8D1-9C0A7421093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1589"/>
            <a:ext cx="6179300" cy="68548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D6DBBD-6D9A-8E36-9F58-47B0CE55DCDE}"/>
              </a:ext>
            </a:extLst>
          </p:cNvPr>
          <p:cNvSpPr/>
          <p:nvPr userDrawn="1"/>
        </p:nvSpPr>
        <p:spPr>
          <a:xfrm>
            <a:off x="6179301" y="1588"/>
            <a:ext cx="6012700" cy="6856412"/>
          </a:xfrm>
          <a:prstGeom prst="rect">
            <a:avLst/>
          </a:prstGeom>
          <a:solidFill>
            <a:srgbClr val="2600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3600" b="1">
                <a:solidFill>
                  <a:schemeClr val="bg2"/>
                </a:solidFill>
                <a:latin typeface="Encode Sans Normal Black"/>
              </a:rPr>
              <a:t>TITLE HERE</a:t>
            </a:r>
          </a:p>
          <a:p>
            <a:pPr algn="ctr"/>
            <a:r>
              <a:rPr lang="en-US" sz="3600" b="1">
                <a:solidFill>
                  <a:schemeClr val="bg2"/>
                </a:solidFill>
                <a:latin typeface="Encode Sans Normal Black"/>
              </a:rPr>
              <a:t>ENCODE SANS 36</a:t>
            </a:r>
            <a:endParaRPr lang="en-US" sz="4400">
              <a:solidFill>
                <a:schemeClr val="bg2"/>
              </a:solidFill>
              <a:latin typeface="Encode Sans Normal Black"/>
            </a:endParaRPr>
          </a:p>
        </p:txBody>
      </p:sp>
    </p:spTree>
    <p:extLst>
      <p:ext uri="{BB962C8B-B14F-4D97-AF65-F5344CB8AC3E}">
        <p14:creationId xmlns:p14="http://schemas.microsoft.com/office/powerpoint/2010/main" val="165351716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er + Conten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5B0B6D1C-AD68-9EDE-02F2-6292A447D5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8537" y="2444491"/>
            <a:ext cx="6827916" cy="998440"/>
          </a:xfrm>
          <a:prstGeom prst="rect">
            <a:avLst/>
          </a:prstGeom>
        </p:spPr>
        <p:txBody>
          <a:bodyPr anchor="ctr"/>
          <a:lstStyle>
            <a:lvl1pPr algn="ctr">
              <a:defRPr sz="3600" b="1" i="0">
                <a:solidFill>
                  <a:schemeClr val="bg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DIVIDER TITLE</a:t>
            </a:r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19837467-A856-43BA-265C-1DDF774D2F8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600209" y="0"/>
            <a:ext cx="4591791" cy="6858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pic>
        <p:nvPicPr>
          <p:cNvPr id="4" name="Picture 3" descr="Wordmark_center_Purple_HEX.png">
            <a:extLst>
              <a:ext uri="{FF2B5EF4-FFF2-40B4-BE49-F238E27FC236}">
                <a16:creationId xmlns:a16="http://schemas.microsoft.com/office/drawing/2014/main" id="{F7D3F21C-E332-CBAD-380C-2AA3976955F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9541" y="6487457"/>
            <a:ext cx="3233727" cy="1633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0992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W Logo_Purple_2685_HEX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30852" y="5949410"/>
            <a:ext cx="1828800" cy="923544"/>
          </a:xfrm>
          <a:prstGeom prst="rect">
            <a:avLst/>
          </a:prstGeom>
        </p:spPr>
      </p:pic>
      <p:pic>
        <p:nvPicPr>
          <p:cNvPr id="9" name="Picture 8" descr="Wordmark_center_Purple_HEX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053" y="6487457"/>
            <a:ext cx="3233727" cy="163374"/>
          </a:xfrm>
          <a:prstGeom prst="rect">
            <a:avLst/>
          </a:prstGeom>
        </p:spPr>
      </p:pic>
      <p:pic>
        <p:nvPicPr>
          <p:cNvPr id="6" name="Picture 5" descr="Bar_RtAngle_7502_RGB.pn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784" y="4006085"/>
            <a:ext cx="3045737" cy="112770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895676" y="1167124"/>
            <a:ext cx="9296400" cy="2641756"/>
          </a:xfrm>
          <a:prstGeom prst="rect">
            <a:avLst/>
          </a:prstGeom>
        </p:spPr>
        <p:txBody>
          <a:bodyPr anchor="b"/>
          <a:lstStyle>
            <a:lvl1pPr algn="l">
              <a:defRPr sz="50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TITLE HERE</a:t>
            </a:r>
            <a:br>
              <a:rPr lang="en-US"/>
            </a:br>
            <a:r>
              <a:rPr lang="en-US"/>
              <a:t>ENCODE NORMAL</a:t>
            </a:r>
            <a:br>
              <a:rPr lang="en-US"/>
            </a:br>
            <a:r>
              <a:rPr lang="en-US"/>
              <a:t>BLACK, 50 PT. </a:t>
            </a:r>
          </a:p>
        </p:txBody>
      </p:sp>
    </p:spTree>
    <p:extLst>
      <p:ext uri="{BB962C8B-B14F-4D97-AF65-F5344CB8AC3E}">
        <p14:creationId xmlns:p14="http://schemas.microsoft.com/office/powerpoint/2010/main" val="230805924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94A3A0B-AD40-823C-056C-52FF622B8F16}"/>
              </a:ext>
            </a:extLst>
          </p:cNvPr>
          <p:cNvSpPr/>
          <p:nvPr userDrawn="1"/>
        </p:nvSpPr>
        <p:spPr>
          <a:xfrm>
            <a:off x="0" y="1793"/>
            <a:ext cx="12192000" cy="330421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7" name="Picture 6" descr="Bar_RtAngle_7502_RGB.png">
            <a:extLst>
              <a:ext uri="{FF2B5EF4-FFF2-40B4-BE49-F238E27FC236}">
                <a16:creationId xmlns:a16="http://schemas.microsoft.com/office/drawing/2014/main" id="{9BD09656-480A-8A1B-CE1C-0F8EC2F4999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7588" y="3179438"/>
            <a:ext cx="4001992" cy="249562"/>
          </a:xfrm>
          <a:prstGeom prst="rect">
            <a:avLst/>
          </a:prstGeom>
        </p:spPr>
      </p:pic>
      <p:pic>
        <p:nvPicPr>
          <p:cNvPr id="8" name="Picture 7" descr="Bar_RtAngle_7502_RGB.png">
            <a:extLst>
              <a:ext uri="{FF2B5EF4-FFF2-40B4-BE49-F238E27FC236}">
                <a16:creationId xmlns:a16="http://schemas.microsoft.com/office/drawing/2014/main" id="{0E606243-42C8-699B-5FA2-90927FAC757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2338025" y="3179438"/>
            <a:ext cx="4001992" cy="249562"/>
          </a:xfrm>
          <a:prstGeom prst="rect">
            <a:avLst/>
          </a:prstGeom>
        </p:spPr>
      </p:pic>
      <p:pic>
        <p:nvPicPr>
          <p:cNvPr id="10" name="Picture 9" descr="UW_W Logo_White.png">
            <a:extLst>
              <a:ext uri="{FF2B5EF4-FFF2-40B4-BE49-F238E27FC236}">
                <a16:creationId xmlns:a16="http://schemas.microsoft.com/office/drawing/2014/main" id="{61980F75-DA9D-9F72-C13A-CFD15CED061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27753" y="5945854"/>
            <a:ext cx="1828800" cy="923544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7E391035-746D-18FE-DC5F-6A4119E00275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03112" y="6354234"/>
            <a:ext cx="3386667" cy="266700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1324081" y="1561370"/>
            <a:ext cx="9296400" cy="1192786"/>
          </a:xfrm>
          <a:prstGeom prst="rect">
            <a:avLst/>
          </a:prstGeom>
        </p:spPr>
        <p:txBody>
          <a:bodyPr anchor="b"/>
          <a:lstStyle>
            <a:lvl1pPr algn="ctr">
              <a:defRPr sz="5000" b="1" i="0">
                <a:solidFill>
                  <a:schemeClr val="bg1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28775225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er + Sub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879074" y="1288473"/>
            <a:ext cx="10929485" cy="4981698"/>
          </a:xfrm>
          <a:prstGeom prst="rect">
            <a:avLst/>
          </a:prstGeom>
        </p:spPr>
        <p:txBody>
          <a:bodyPr/>
          <a:lstStyle>
            <a:lvl1pPr marL="342900" indent="-342900">
              <a:buFont typeface="Lucida Grande"/>
              <a:buChar char="&gt;"/>
              <a:defRPr sz="2400" b="1" i="0" baseline="0">
                <a:solidFill>
                  <a:srgbClr val="4B2E83"/>
                </a:solidFill>
                <a:latin typeface="Open Sans"/>
                <a:cs typeface="Open Sans"/>
              </a:defRPr>
            </a:lvl1pPr>
            <a:lvl2pPr>
              <a:defRPr sz="2000" b="1" i="0" baseline="0">
                <a:solidFill>
                  <a:srgbClr val="4B2E83"/>
                </a:solidFill>
                <a:latin typeface="Open Sans"/>
                <a:cs typeface="Open Sans"/>
              </a:defRPr>
            </a:lvl2pPr>
            <a:lvl3pPr marL="1143000" indent="-228600">
              <a:buSzPct val="100000"/>
              <a:buFont typeface="Lucida Grande"/>
              <a:buChar char="&gt;"/>
              <a:defRPr sz="1800" b="1" i="0" baseline="0">
                <a:solidFill>
                  <a:srgbClr val="4B2E83"/>
                </a:solidFill>
                <a:latin typeface="Open Sans"/>
                <a:cs typeface="Open Sans"/>
              </a:defRPr>
            </a:lvl3pPr>
            <a:lvl4pPr>
              <a:defRPr sz="1600" b="1" i="0" baseline="0">
                <a:solidFill>
                  <a:srgbClr val="4B2E83"/>
                </a:solidFill>
                <a:latin typeface="Open Sans"/>
                <a:cs typeface="Open Sans"/>
              </a:defRPr>
            </a:lvl4pPr>
            <a:lvl5pPr marL="2057400" indent="-228600">
              <a:buFont typeface="Lucida Grande"/>
              <a:buChar char="&gt;"/>
              <a:defRPr sz="1400" b="1" i="0" baseline="0">
                <a:solidFill>
                  <a:srgbClr val="4B2E83"/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 Bold, 20)</a:t>
            </a:r>
          </a:p>
          <a:p>
            <a:pPr lvl="2"/>
            <a:r>
              <a:rPr lang="en-US"/>
              <a:t>Third level (Open Sans Bold, 18)</a:t>
            </a:r>
          </a:p>
          <a:p>
            <a:pPr lvl="3"/>
            <a:r>
              <a:rPr lang="en-US"/>
              <a:t>Fourth level (Open Sans Bold, 16)</a:t>
            </a:r>
          </a:p>
          <a:p>
            <a:pPr lvl="4"/>
            <a:r>
              <a:rPr lang="en-US"/>
              <a:t>Fifth level (Open Sans Bold, 14)</a:t>
            </a:r>
          </a:p>
        </p:txBody>
      </p:sp>
      <p:pic>
        <p:nvPicPr>
          <p:cNvPr id="9" name="Picture 8" descr="Wordmark_center_Purple_HEX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9541" y="6487457"/>
            <a:ext cx="3233727" cy="163374"/>
          </a:xfrm>
          <a:prstGeom prst="rect">
            <a:avLst/>
          </a:prstGeom>
        </p:spPr>
      </p:pic>
      <p:pic>
        <p:nvPicPr>
          <p:cNvPr id="8" name="Picture 7" descr="Bar_RtAngle_7502_RGB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9032" y="1078276"/>
            <a:ext cx="1810912" cy="6705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79074" y="385948"/>
            <a:ext cx="10912884" cy="606050"/>
          </a:xfrm>
          <a:prstGeom prst="rect">
            <a:avLst/>
          </a:prstGeom>
        </p:spPr>
        <p:txBody>
          <a:bodyPr anchor="b"/>
          <a:lstStyle>
            <a:lvl1pPr algn="l">
              <a:defRPr sz="30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(ENCODE NORMAL BLACK, 30 )</a:t>
            </a:r>
          </a:p>
        </p:txBody>
      </p:sp>
    </p:spTree>
    <p:extLst>
      <p:ext uri="{BB962C8B-B14F-4D97-AF65-F5344CB8AC3E}">
        <p14:creationId xmlns:p14="http://schemas.microsoft.com/office/powerpoint/2010/main" val="243613394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+ Sub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879074" y="1852863"/>
            <a:ext cx="10929485" cy="4417308"/>
          </a:xfrm>
          <a:prstGeom prst="rect">
            <a:avLst/>
          </a:prstGeom>
        </p:spPr>
        <p:txBody>
          <a:bodyPr/>
          <a:lstStyle>
            <a:lvl1pPr marL="342900" indent="-342900">
              <a:buFont typeface="Lucida Grande"/>
              <a:buChar char="&gt;"/>
              <a:defRPr sz="2400" b="1" i="0" baseline="0">
                <a:solidFill>
                  <a:srgbClr val="4B2E83"/>
                </a:solidFill>
                <a:latin typeface="Open Sans"/>
                <a:cs typeface="Open Sans"/>
              </a:defRPr>
            </a:lvl1pPr>
            <a:lvl2pPr>
              <a:defRPr sz="2000" b="1" i="0" baseline="0">
                <a:solidFill>
                  <a:srgbClr val="4B2E83"/>
                </a:solidFill>
                <a:latin typeface="Open Sans"/>
                <a:cs typeface="Open Sans"/>
              </a:defRPr>
            </a:lvl2pPr>
            <a:lvl3pPr marL="1143000" indent="-228600">
              <a:buSzPct val="100000"/>
              <a:buFont typeface="Lucida Grande"/>
              <a:buChar char="&gt;"/>
              <a:defRPr sz="1800" b="1" i="0" baseline="0">
                <a:solidFill>
                  <a:srgbClr val="4B2E83"/>
                </a:solidFill>
                <a:latin typeface="Open Sans"/>
                <a:cs typeface="Open Sans"/>
              </a:defRPr>
            </a:lvl3pPr>
            <a:lvl4pPr>
              <a:defRPr sz="1600" b="1" i="0" baseline="0">
                <a:solidFill>
                  <a:srgbClr val="4B2E83"/>
                </a:solidFill>
                <a:latin typeface="Open Sans"/>
                <a:cs typeface="Open Sans"/>
              </a:defRPr>
            </a:lvl4pPr>
            <a:lvl5pPr marL="2057400" indent="-228600">
              <a:buFont typeface="Lucida Grande"/>
              <a:buChar char="&gt;"/>
              <a:defRPr sz="1400" b="1" i="0" baseline="0">
                <a:solidFill>
                  <a:srgbClr val="4B2E83"/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 Bold, 20)</a:t>
            </a:r>
          </a:p>
          <a:p>
            <a:pPr lvl="2"/>
            <a:r>
              <a:rPr lang="en-US"/>
              <a:t>Third level (Open Sans Bold, 18)</a:t>
            </a:r>
          </a:p>
          <a:p>
            <a:pPr lvl="3"/>
            <a:r>
              <a:rPr lang="en-US"/>
              <a:t>Fourth level (Open Sans Bold, 16)</a:t>
            </a:r>
          </a:p>
          <a:p>
            <a:pPr lvl="4"/>
            <a:r>
              <a:rPr lang="en-US"/>
              <a:t>Fifth level (Open Sans Bold, 14)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895676" y="1261748"/>
            <a:ext cx="10912883" cy="41117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2400" b="0" i="0" baseline="0">
                <a:solidFill>
                  <a:srgbClr val="4B2E83"/>
                </a:solidFill>
                <a:latin typeface="Uni Sans Regular"/>
                <a:cs typeface="Uni Sans Regular"/>
              </a:defRPr>
            </a:lvl1pPr>
            <a:lvl2pPr marL="45720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1440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37160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82880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LIGHT, 24 PT.)</a:t>
            </a:r>
          </a:p>
        </p:txBody>
      </p:sp>
      <p:pic>
        <p:nvPicPr>
          <p:cNvPr id="9" name="Picture 8" descr="Wordmark_center_Purple_HEX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9541" y="6487457"/>
            <a:ext cx="3233727" cy="163374"/>
          </a:xfrm>
          <a:prstGeom prst="rect">
            <a:avLst/>
          </a:prstGeom>
        </p:spPr>
      </p:pic>
      <p:pic>
        <p:nvPicPr>
          <p:cNvPr id="3" name="Picture 2" descr="Bar_RtAngle_7502_RGB.png">
            <a:extLst>
              <a:ext uri="{FF2B5EF4-FFF2-40B4-BE49-F238E27FC236}">
                <a16:creationId xmlns:a16="http://schemas.microsoft.com/office/drawing/2014/main" id="{47BAD570-5797-2F0E-4042-C156CE80F2D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9032" y="1078276"/>
            <a:ext cx="1810912" cy="6705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A019CE3-36EF-24D8-D856-0CD4C0681D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9074" y="385948"/>
            <a:ext cx="10912884" cy="606050"/>
          </a:xfrm>
          <a:prstGeom prst="rect">
            <a:avLst/>
          </a:prstGeom>
        </p:spPr>
        <p:txBody>
          <a:bodyPr anchor="b"/>
          <a:lstStyle>
            <a:lvl1pPr algn="l">
              <a:defRPr sz="30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(ENCODE NORMAL BLACK, 30 )</a:t>
            </a:r>
          </a:p>
        </p:txBody>
      </p:sp>
    </p:spTree>
    <p:extLst>
      <p:ext uri="{BB962C8B-B14F-4D97-AF65-F5344CB8AC3E}">
        <p14:creationId xmlns:p14="http://schemas.microsoft.com/office/powerpoint/2010/main" val="360138593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eader + Sub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Wordmark_center_Purple_HEX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9541" y="6487457"/>
            <a:ext cx="3233727" cy="1633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896502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895676" y="371511"/>
            <a:ext cx="10912883" cy="418603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lnSpc>
                <a:spcPct val="90000"/>
              </a:lnSpc>
              <a:buNone/>
              <a:defRPr sz="3000" b="0" i="0" baseline="0">
                <a:solidFill>
                  <a:srgbClr val="4B2E83"/>
                </a:solidFill>
                <a:latin typeface="Encode Sans Normal Black"/>
                <a:cs typeface="Encode Sans Normal Black"/>
              </a:defRPr>
            </a:lvl1pPr>
            <a:lvl2pPr marL="45720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1440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37160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82880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HEADER HERE </a:t>
            </a:r>
          </a:p>
          <a:p>
            <a:pPr lvl="0"/>
            <a:r>
              <a:rPr lang="en-US"/>
              <a:t>(ENCODE NORMAL BLACK, 30 PT.)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879073" y="1154097"/>
            <a:ext cx="10928280" cy="4598125"/>
          </a:xfrm>
          <a:prstGeom prst="rect">
            <a:avLst/>
          </a:prstGeom>
        </p:spPr>
        <p:txBody>
          <a:bodyPr/>
          <a:lstStyle>
            <a:lvl1pPr marL="342900" indent="-342900">
              <a:buFont typeface="Lucida Grande"/>
              <a:buChar char="&gt;"/>
              <a:defRPr sz="2400" b="1" i="0" baseline="0">
                <a:solidFill>
                  <a:srgbClr val="4B2E83"/>
                </a:solidFill>
                <a:latin typeface="Open Sans"/>
                <a:cs typeface="Open Sans"/>
              </a:defRPr>
            </a:lvl1pPr>
            <a:lvl2pPr>
              <a:defRPr sz="2000" b="1" i="0" baseline="0">
                <a:solidFill>
                  <a:srgbClr val="4B2E83"/>
                </a:solidFill>
                <a:latin typeface="Open Sans"/>
                <a:cs typeface="Open Sans"/>
              </a:defRPr>
            </a:lvl2pPr>
            <a:lvl3pPr marL="1143000" indent="-228600">
              <a:buSzPct val="100000"/>
              <a:buFont typeface="Lucida Grande"/>
              <a:buChar char="&gt;"/>
              <a:defRPr sz="1800" b="1" i="0" baseline="0">
                <a:solidFill>
                  <a:srgbClr val="4B2E83"/>
                </a:solidFill>
                <a:latin typeface="Open Sans"/>
                <a:cs typeface="Open Sans"/>
              </a:defRPr>
            </a:lvl3pPr>
            <a:lvl4pPr>
              <a:defRPr sz="1600" b="1" i="0" baseline="0">
                <a:solidFill>
                  <a:srgbClr val="4B2E83"/>
                </a:solidFill>
                <a:latin typeface="Open Sans"/>
                <a:cs typeface="Open Sans"/>
              </a:defRPr>
            </a:lvl4pPr>
            <a:lvl5pPr marL="2057400" indent="-228600">
              <a:buFont typeface="Lucida Grande"/>
              <a:buChar char="&gt;"/>
              <a:defRPr sz="1400" b="1" i="0" baseline="0">
                <a:solidFill>
                  <a:srgbClr val="4B2E83"/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 Bold, 20)</a:t>
            </a:r>
          </a:p>
          <a:p>
            <a:pPr lvl="2"/>
            <a:r>
              <a:rPr lang="en-US"/>
              <a:t>Third level (Open Sans Bold, 18)</a:t>
            </a:r>
          </a:p>
          <a:p>
            <a:pPr lvl="3"/>
            <a:r>
              <a:rPr lang="en-US"/>
              <a:t>Fourth level (Open Sans Bold, 16)</a:t>
            </a:r>
          </a:p>
          <a:p>
            <a:pPr lvl="4"/>
            <a:r>
              <a:rPr lang="en-US"/>
              <a:t>Fifth level (Open Sans Bold, 14)</a:t>
            </a:r>
          </a:p>
        </p:txBody>
      </p:sp>
      <p:pic>
        <p:nvPicPr>
          <p:cNvPr id="7" name="Picture 6" descr="Bar_RtAngle_7502_RGB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5633" y="867509"/>
            <a:ext cx="1810912" cy="67050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7D61B4-469C-47C3-8574-36BA7739E5E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790099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4800" y="1066800"/>
            <a:ext cx="2692400" cy="3017309"/>
          </a:xfrm>
        </p:spPr>
        <p:txBody>
          <a:bodyPr/>
          <a:lstStyle>
            <a:lvl1pPr>
              <a:defRPr sz="1867"/>
            </a:lvl1pPr>
            <a:lvl2pPr>
              <a:defRPr sz="1600"/>
            </a:lvl2pPr>
            <a:lvl3pPr>
              <a:defRPr sz="1333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098800" y="1066800"/>
            <a:ext cx="2692400" cy="3017309"/>
          </a:xfrm>
        </p:spPr>
        <p:txBody>
          <a:bodyPr/>
          <a:lstStyle>
            <a:lvl1pPr>
              <a:defRPr sz="1867"/>
            </a:lvl1pPr>
            <a:lvl2pPr>
              <a:defRPr sz="1600"/>
            </a:lvl2pPr>
            <a:lvl3pPr>
              <a:defRPr sz="1333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7/202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391292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152400" y="6527800"/>
            <a:ext cx="1422400" cy="243417"/>
          </a:xfrm>
        </p:spPr>
        <p:txBody>
          <a:bodyPr/>
          <a:lstStyle/>
          <a:p>
            <a:fld id="{1D8BD707-D9CF-40AE-B4C6-C98DA3205C09}" type="datetimeFigureOut">
              <a:rPr lang="en-US" smtClean="0"/>
              <a:pPr/>
              <a:t>4/7/202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826000" y="6503044"/>
            <a:ext cx="1930400" cy="243417"/>
          </a:xfr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0617200" y="6547218"/>
            <a:ext cx="1422400" cy="243417"/>
          </a:xfrm>
        </p:spPr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" name="Picture 4" descr="Bar_RtAngle_7502_RGB.png">
            <a:extLst>
              <a:ext uri="{FF2B5EF4-FFF2-40B4-BE49-F238E27FC236}">
                <a16:creationId xmlns:a16="http://schemas.microsoft.com/office/drawing/2014/main" id="{9229303B-AB76-695B-95F0-E53FB3D911D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1416" y="889000"/>
            <a:ext cx="2667995" cy="10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6001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800" y="1023409"/>
            <a:ext cx="2693459" cy="426508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304815" indent="0">
              <a:buNone/>
              <a:defRPr sz="1333" b="1"/>
            </a:lvl2pPr>
            <a:lvl3pPr marL="609630" indent="0">
              <a:buNone/>
              <a:defRPr sz="1200" b="1"/>
            </a:lvl3pPr>
            <a:lvl4pPr marL="914446" indent="0">
              <a:buNone/>
              <a:defRPr sz="1067" b="1"/>
            </a:lvl4pPr>
            <a:lvl5pPr marL="1219261" indent="0">
              <a:buNone/>
              <a:defRPr sz="1067" b="1"/>
            </a:lvl5pPr>
            <a:lvl6pPr marL="1524076" indent="0">
              <a:buNone/>
              <a:defRPr sz="1067" b="1"/>
            </a:lvl6pPr>
            <a:lvl7pPr marL="1828891" indent="0">
              <a:buNone/>
              <a:defRPr sz="1067" b="1"/>
            </a:lvl7pPr>
            <a:lvl8pPr marL="2133707" indent="0">
              <a:buNone/>
              <a:defRPr sz="1067" b="1"/>
            </a:lvl8pPr>
            <a:lvl9pPr marL="2438522" indent="0">
              <a:buNone/>
              <a:defRPr sz="106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04800" y="1449917"/>
            <a:ext cx="2693459" cy="2634192"/>
          </a:xfrm>
        </p:spPr>
        <p:txBody>
          <a:bodyPr/>
          <a:lstStyle>
            <a:lvl1pPr>
              <a:defRPr sz="1600"/>
            </a:lvl1pPr>
            <a:lvl2pPr>
              <a:defRPr sz="1333"/>
            </a:lvl2pPr>
            <a:lvl3pPr>
              <a:defRPr sz="1200"/>
            </a:lvl3pPr>
            <a:lvl4pPr>
              <a:defRPr sz="1067"/>
            </a:lvl4pPr>
            <a:lvl5pPr>
              <a:defRPr sz="1067"/>
            </a:lvl5pPr>
            <a:lvl6pPr>
              <a:defRPr sz="1067"/>
            </a:lvl6pPr>
            <a:lvl7pPr>
              <a:defRPr sz="1067"/>
            </a:lvl7pPr>
            <a:lvl8pPr>
              <a:defRPr sz="1067"/>
            </a:lvl8pPr>
            <a:lvl9pPr>
              <a:defRPr sz="10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096684" y="1023409"/>
            <a:ext cx="2694517" cy="426508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304815" indent="0">
              <a:buNone/>
              <a:defRPr sz="1333" b="1"/>
            </a:lvl2pPr>
            <a:lvl3pPr marL="609630" indent="0">
              <a:buNone/>
              <a:defRPr sz="1200" b="1"/>
            </a:lvl3pPr>
            <a:lvl4pPr marL="914446" indent="0">
              <a:buNone/>
              <a:defRPr sz="1067" b="1"/>
            </a:lvl4pPr>
            <a:lvl5pPr marL="1219261" indent="0">
              <a:buNone/>
              <a:defRPr sz="1067" b="1"/>
            </a:lvl5pPr>
            <a:lvl6pPr marL="1524076" indent="0">
              <a:buNone/>
              <a:defRPr sz="1067" b="1"/>
            </a:lvl6pPr>
            <a:lvl7pPr marL="1828891" indent="0">
              <a:buNone/>
              <a:defRPr sz="1067" b="1"/>
            </a:lvl7pPr>
            <a:lvl8pPr marL="2133707" indent="0">
              <a:buNone/>
              <a:defRPr sz="1067" b="1"/>
            </a:lvl8pPr>
            <a:lvl9pPr marL="2438522" indent="0">
              <a:buNone/>
              <a:defRPr sz="106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096684" y="1449917"/>
            <a:ext cx="2694517" cy="2634192"/>
          </a:xfrm>
        </p:spPr>
        <p:txBody>
          <a:bodyPr/>
          <a:lstStyle>
            <a:lvl1pPr>
              <a:defRPr sz="1600"/>
            </a:lvl1pPr>
            <a:lvl2pPr>
              <a:defRPr sz="1333"/>
            </a:lvl2pPr>
            <a:lvl3pPr>
              <a:defRPr sz="1200"/>
            </a:lvl3pPr>
            <a:lvl4pPr>
              <a:defRPr sz="1067"/>
            </a:lvl4pPr>
            <a:lvl5pPr>
              <a:defRPr sz="1067"/>
            </a:lvl5pPr>
            <a:lvl6pPr>
              <a:defRPr sz="1067"/>
            </a:lvl6pPr>
            <a:lvl7pPr>
              <a:defRPr sz="1067"/>
            </a:lvl7pPr>
            <a:lvl8pPr>
              <a:defRPr sz="1067"/>
            </a:lvl8pPr>
            <a:lvl9pPr>
              <a:defRPr sz="10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7/2026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179204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7/202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71035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152400" y="6527800"/>
            <a:ext cx="1422400" cy="243417"/>
          </a:xfrm>
        </p:spPr>
        <p:txBody>
          <a:bodyPr/>
          <a:lstStyle/>
          <a:p>
            <a:fld id="{1D8BD707-D9CF-40AE-B4C6-C98DA3205C09}" type="datetimeFigureOut">
              <a:rPr lang="en-US" smtClean="0"/>
              <a:pPr/>
              <a:t>4/7/202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826000" y="6503044"/>
            <a:ext cx="1930400" cy="243417"/>
          </a:xfr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0617200" y="6547218"/>
            <a:ext cx="1422400" cy="243417"/>
          </a:xfrm>
        </p:spPr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" name="Picture 4" descr="Bar_RtAngle_7502_RGB.png">
            <a:extLst>
              <a:ext uri="{FF2B5EF4-FFF2-40B4-BE49-F238E27FC236}">
                <a16:creationId xmlns:a16="http://schemas.microsoft.com/office/drawing/2014/main" id="{9229303B-AB76-695B-95F0-E53FB3D911D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1416" y="889000"/>
            <a:ext cx="2667995" cy="10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79932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152400" y="6527800"/>
            <a:ext cx="1422400" cy="243417"/>
          </a:xfrm>
        </p:spPr>
        <p:txBody>
          <a:bodyPr/>
          <a:lstStyle/>
          <a:p>
            <a:fld id="{1D8BD707-D9CF-40AE-B4C6-C98DA3205C09}" type="datetimeFigureOut">
              <a:rPr lang="en-US" smtClean="0"/>
              <a:pPr/>
              <a:t>4/7/202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826000" y="6503044"/>
            <a:ext cx="1930400" cy="243417"/>
          </a:xfr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0617200" y="6547218"/>
            <a:ext cx="1422400" cy="243417"/>
          </a:xfrm>
        </p:spPr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" name="Picture 4" descr="Bar_RtAngle_7502_RGB.png">
            <a:extLst>
              <a:ext uri="{FF2B5EF4-FFF2-40B4-BE49-F238E27FC236}">
                <a16:creationId xmlns:a16="http://schemas.microsoft.com/office/drawing/2014/main" id="{9229303B-AB76-695B-95F0-E53FB3D911D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1416" y="889000"/>
            <a:ext cx="2667995" cy="10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13545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152400" y="6527800"/>
            <a:ext cx="1422400" cy="243417"/>
          </a:xfrm>
        </p:spPr>
        <p:txBody>
          <a:bodyPr/>
          <a:lstStyle/>
          <a:p>
            <a:fld id="{1D8BD707-D9CF-40AE-B4C6-C98DA3205C09}" type="datetimeFigureOut">
              <a:rPr lang="en-US" smtClean="0"/>
              <a:pPr/>
              <a:t>4/7/202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826000" y="6503044"/>
            <a:ext cx="1930400" cy="243417"/>
          </a:xfr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0617200" y="6547218"/>
            <a:ext cx="1422400" cy="243417"/>
          </a:xfrm>
        </p:spPr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13848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oleObject" Target="../embeddings/oleObject4.bin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tags" Target="../tags/tag4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24.xml"/><Relationship Id="rId10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tags" Target="../tags/tag5.xml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4.xml"/><Relationship Id="rId15" Type="http://schemas.openxmlformats.org/officeDocument/2006/relationships/image" Target="../media/image11.emf"/><Relationship Id="rId10" Type="http://schemas.openxmlformats.org/officeDocument/2006/relationships/slideLayout" Target="../slideLayouts/slideLayout39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oleObject" Target="../embeddings/oleObject5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79503706-950D-C07D-C91A-FB1593A212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3855079793"/>
              </p:ext>
            </p:extLst>
          </p:nvPr>
        </p:nvGraphicFramePr>
        <p:xfrm>
          <a:off x="1059" y="1059"/>
          <a:ext cx="1059" cy="10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306" imgH="306" progId="TCLayout.ActiveDocument.1">
                  <p:embed/>
                </p:oleObj>
              </mc:Choice>
              <mc:Fallback>
                <p:oleObj name="think-cell Slide" r:id="rId22" imgW="306" imgH="30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503706-950D-C07D-C91A-FB1593A212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059" y="1059"/>
                        <a:ext cx="1059" cy="10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183092"/>
            <a:ext cx="5486400" cy="76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800" y="1066800"/>
            <a:ext cx="5486400" cy="301730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04800" y="4237567"/>
            <a:ext cx="1422400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4/7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82800" y="4237567"/>
            <a:ext cx="1930400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68800" y="4237567"/>
            <a:ext cx="1422400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98840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704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</p:sldLayoutIdLst>
  <p:txStyles>
    <p:titleStyle>
      <a:lvl1pPr algn="ctr" defTabSz="609630" rtl="0" eaLnBrk="1" latinLnBrk="0" hangingPunct="1">
        <a:spcBef>
          <a:spcPct val="0"/>
        </a:spcBef>
        <a:buNone/>
        <a:defRPr sz="2933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11" indent="-228611" algn="l" defTabSz="609630" rtl="0" eaLnBrk="1" latinLnBrk="0" hangingPunct="1">
        <a:spcBef>
          <a:spcPct val="20000"/>
        </a:spcBef>
        <a:buFont typeface="Arial" pitchFamily="34" charset="0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495325" indent="-190510" algn="l" defTabSz="609630" rtl="0" eaLnBrk="1" latinLnBrk="0" hangingPunct="1">
        <a:spcBef>
          <a:spcPct val="20000"/>
        </a:spcBef>
        <a:buFont typeface="Arial" pitchFamily="34" charset="0"/>
        <a:buChar char="–"/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762038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066853" indent="-152408" algn="l" defTabSz="609630" rtl="0" eaLnBrk="1" latinLnBrk="0" hangingPunct="1">
        <a:spcBef>
          <a:spcPct val="20000"/>
        </a:spcBef>
        <a:buFont typeface="Arial" pitchFamily="34" charset="0"/>
        <a:buChar char="–"/>
        <a:defRPr sz="1333" kern="1200">
          <a:solidFill>
            <a:schemeClr val="tx1"/>
          </a:solidFill>
          <a:latin typeface="+mn-lt"/>
          <a:ea typeface="+mn-ea"/>
          <a:cs typeface="+mn-cs"/>
        </a:defRPr>
      </a:lvl4pPr>
      <a:lvl5pPr marL="1371669" indent="-152408" algn="l" defTabSz="609630" rtl="0" eaLnBrk="1" latinLnBrk="0" hangingPunct="1">
        <a:spcBef>
          <a:spcPct val="20000"/>
        </a:spcBef>
        <a:buFont typeface="Arial" pitchFamily="34" charset="0"/>
        <a:buChar char="»"/>
        <a:defRPr sz="1333" kern="1200">
          <a:solidFill>
            <a:schemeClr val="tx1"/>
          </a:solidFill>
          <a:latin typeface="+mn-lt"/>
          <a:ea typeface="+mn-ea"/>
          <a:cs typeface="+mn-cs"/>
        </a:defRPr>
      </a:lvl5pPr>
      <a:lvl6pPr marL="1676484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6pPr>
      <a:lvl7pPr marL="1981299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7pPr>
      <a:lvl8pPr marL="2286114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8pPr>
      <a:lvl9pPr marL="2590930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04815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609630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46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219261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524076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828891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133707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438522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47F22C15-6FC9-FF6F-D1FA-5E9CBE3770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845347979"/>
              </p:ext>
            </p:extLst>
          </p:nvPr>
        </p:nvGraphicFramePr>
        <p:xfrm>
          <a:off x="2119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306" imgH="306" progId="TCLayout.ActiveDocument.1">
                  <p:embed/>
                </p:oleObj>
              </mc:Choice>
              <mc:Fallback>
                <p:oleObj name="think-cell Slide" r:id="rId13" imgW="306" imgH="30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F22C15-6FC9-FF6F-D1FA-5E9CBE3770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2119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216310" y="6356356"/>
            <a:ext cx="54814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77D61B4-469C-47C3-8574-36BA7739E5E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91672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  <p:sldLayoutId id="2147483688" r:id="rId8"/>
    <p:sldLayoutId id="2147483689" r:id="rId9"/>
    <p:sldLayoutId id="2147483690" r:id="rId10"/>
  </p:sldLayoutIdLst>
  <p:hf hdr="0" ftr="0" dt="0"/>
  <p:txStyles>
    <p:titleStyle>
      <a:lvl1pPr algn="ctr" defTabSz="457212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8" indent="-342908" algn="l" defTabSz="457212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69" indent="-285758" algn="l" defTabSz="457212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28" indent="-228605" algn="l" defTabSz="457212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40" indent="-228605" algn="l" defTabSz="457212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52" indent="-228605" algn="l" defTabSz="457212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63" indent="-228605" algn="l" defTabSz="45721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75" indent="-228605" algn="l" defTabSz="45721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85" indent="-228605" algn="l" defTabSz="45721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98" indent="-228605" algn="l" defTabSz="45721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12" algn="l" defTabSz="4572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23" algn="l" defTabSz="4572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35" algn="l" defTabSz="4572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45" algn="l" defTabSz="4572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58" algn="l" defTabSz="4572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8" algn="l" defTabSz="4572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80" algn="l" defTabSz="4572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92" algn="l" defTabSz="4572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F508790D-9C3E-D595-D997-4BA61B4AD1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8236894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06" imgH="306" progId="TCLayout.ActiveDocument.1">
                  <p:embed/>
                </p:oleObj>
              </mc:Choice>
              <mc:Fallback>
                <p:oleObj name="think-cell Slide" r:id="rId14" imgW="306" imgH="30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508790D-9C3E-D595-D997-4BA61B4AD1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5752990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696" r:id="rId3"/>
    <p:sldLayoutId id="2147483697" r:id="rId4"/>
    <p:sldLayoutId id="2147483698" r:id="rId5"/>
    <p:sldLayoutId id="2147483699" r:id="rId6"/>
    <p:sldLayoutId id="2147483700" r:id="rId7"/>
    <p:sldLayoutId id="2147483701" r:id="rId8"/>
    <p:sldLayoutId id="2147483702" r:id="rId9"/>
    <p:sldLayoutId id="2147483703" r:id="rId10"/>
    <p:sldLayoutId id="2147483705" r:id="rId11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0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eg"/><Relationship Id="rId3" Type="http://schemas.openxmlformats.org/officeDocument/2006/relationships/image" Target="../media/image15.svg"/><Relationship Id="rId7" Type="http://schemas.openxmlformats.org/officeDocument/2006/relationships/image" Target="../media/image24.sv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3.svg"/><Relationship Id="rId5" Type="http://schemas.openxmlformats.org/officeDocument/2006/relationships/image" Target="../media/image22.svg"/><Relationship Id="rId10" Type="http://schemas.openxmlformats.org/officeDocument/2006/relationships/image" Target="../media/image27.svg"/><Relationship Id="rId4" Type="http://schemas.openxmlformats.org/officeDocument/2006/relationships/image" Target="../media/image21.svg"/><Relationship Id="rId9" Type="http://schemas.openxmlformats.org/officeDocument/2006/relationships/image" Target="../media/image26.sv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0.xml"/><Relationship Id="rId5" Type="http://schemas.openxmlformats.org/officeDocument/2006/relationships/image" Target="../media/image15.svg"/><Relationship Id="rId4" Type="http://schemas.microsoft.com/office/2007/relationships/hdphoto" Target="../media/hdphoto1.wdp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.xml"/><Relationship Id="rId6" Type="http://schemas.openxmlformats.org/officeDocument/2006/relationships/image" Target="../media/image15.sv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16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.xml"/><Relationship Id="rId6" Type="http://schemas.openxmlformats.org/officeDocument/2006/relationships/image" Target="../media/image15.sv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7" Type="http://schemas.openxmlformats.org/officeDocument/2006/relationships/image" Target="../media/image18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.xml"/><Relationship Id="rId6" Type="http://schemas.openxmlformats.org/officeDocument/2006/relationships/image" Target="../media/image15.sv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7" Type="http://schemas.openxmlformats.org/officeDocument/2006/relationships/image" Target="../media/image19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.xml"/><Relationship Id="rId6" Type="http://schemas.openxmlformats.org/officeDocument/2006/relationships/image" Target="../media/image15.sv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7" Type="http://schemas.openxmlformats.org/officeDocument/2006/relationships/image" Target="../media/image20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.xml"/><Relationship Id="rId6" Type="http://schemas.openxmlformats.org/officeDocument/2006/relationships/image" Target="../media/image15.sv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5" Type="http://schemas.openxmlformats.org/officeDocument/2006/relationships/hyperlink" Target="https://facilities.uw.edu/catalog/space-manager" TargetMode="External"/><Relationship Id="rId4" Type="http://schemas.openxmlformats.org/officeDocument/2006/relationships/hyperlink" Target="https://uw.bridgeapp.com/learner/courses" TargetMode="Externa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7DDDB11-87D2-03B0-EE5A-5ADAAF53EA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0" y="3530600"/>
            <a:ext cx="12191999" cy="3327401"/>
          </a:xfrm>
          <a:prstGeom prst="rect">
            <a:avLst/>
          </a:prstGeom>
          <a:solidFill>
            <a:srgbClr val="4B2E83">
              <a:alpha val="80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6903CC7-0695-5560-FFE1-094C76D875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5905" y="5021913"/>
            <a:ext cx="10500188" cy="1366891"/>
          </a:xfrm>
        </p:spPr>
        <p:txBody>
          <a:bodyPr/>
          <a:lstStyle/>
          <a:p>
            <a:r>
              <a:rPr lang="en-US" dirty="0"/>
              <a:t>InVision Replacement </a:t>
            </a:r>
            <a:br>
              <a:rPr lang="en-US" sz="2400" dirty="0"/>
            </a:br>
            <a:r>
              <a:rPr lang="en-US" sz="2800" dirty="0">
                <a:solidFill>
                  <a:schemeClr val="tx1">
                    <a:lumMod val="50000"/>
                  </a:schemeClr>
                </a:solidFill>
              </a:rPr>
              <a:t>Private Business Use (PBU) Training</a:t>
            </a:r>
            <a:br>
              <a:rPr lang="en-US" dirty="0"/>
            </a:br>
            <a:r>
              <a:rPr lang="en-US" sz="2800" dirty="0"/>
              <a:t>2025</a:t>
            </a:r>
            <a:endParaRPr lang="en-US" sz="2400" dirty="0"/>
          </a:p>
        </p:txBody>
      </p:sp>
      <p:pic>
        <p:nvPicPr>
          <p:cNvPr id="15" name="Picture Placeholder 14">
            <a:extLst>
              <a:ext uri="{FF2B5EF4-FFF2-40B4-BE49-F238E27FC236}">
                <a16:creationId xmlns:a16="http://schemas.microsoft.com/office/drawing/2014/main" id="{A8FBB52E-D532-CDF8-D0C1-A01BECF3B4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46" b="20192"/>
          <a:stretch>
            <a:fillRect/>
          </a:stretch>
        </p:blipFill>
        <p:spPr>
          <a:xfrm>
            <a:off x="0" y="0"/>
            <a:ext cx="12192000" cy="3530600"/>
          </a:xfrm>
        </p:spPr>
      </p:pic>
    </p:spTree>
    <p:extLst>
      <p:ext uri="{BB962C8B-B14F-4D97-AF65-F5344CB8AC3E}">
        <p14:creationId xmlns:p14="http://schemas.microsoft.com/office/powerpoint/2010/main" val="250077012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0837E67-E420-CA8E-A6E0-A2E9547E997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FE2112A3-06E7-E2DE-E66C-156AED7459D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099048" y="4113842"/>
            <a:ext cx="6080760" cy="2743200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>
            <a:solidFill>
              <a:srgbClr val="32006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CFB299F-6EC7-94E8-A93C-CB0B9B13C8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9664" y="1370643"/>
            <a:ext cx="6080760" cy="5486400"/>
          </a:xfrm>
          <a:prstGeom prst="rect">
            <a:avLst/>
          </a:prstGeom>
          <a:solidFill>
            <a:schemeClr val="bg2"/>
          </a:solidFill>
          <a:ln w="12700">
            <a:solidFill>
              <a:srgbClr val="32006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7CEDA04A-9BD3-A219-D139-744D2ADEBA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39832" y="2268479"/>
            <a:ext cx="5431707" cy="2647950"/>
          </a:xfrm>
          <a:prstGeom prst="roundRect">
            <a:avLst/>
          </a:prstGeom>
          <a:solidFill>
            <a:schemeClr val="accent4">
              <a:lumMod val="60000"/>
              <a:lumOff val="40000"/>
            </a:schemeClr>
          </a:solidFill>
          <a:ln w="19050"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 algn="ctr" defTabSz="609630" fontAlgn="ctr">
              <a:defRPr/>
            </a:pPr>
            <a:r>
              <a:rPr lang="en-US" sz="1400" u="sng">
                <a:solidFill>
                  <a:srgbClr val="32006E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ace to Face HELP in Units</a:t>
            </a:r>
          </a:p>
          <a:p>
            <a:pPr lvl="0" algn="ctr" defTabSz="609630" fontAlgn="ctr">
              <a:defRPr/>
            </a:pPr>
            <a:endParaRPr lang="en-US" sz="1400" u="sng">
              <a:solidFill>
                <a:srgbClr val="32006E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" name="TextBox 2">
            <a:extLst>
              <a:ext uri="{FF2B5EF4-FFF2-40B4-BE49-F238E27FC236}">
                <a16:creationId xmlns:a16="http://schemas.microsoft.com/office/drawing/2014/main" id="{634DB248-27E8-E37A-E527-D862F0EC4ECE}"/>
              </a:ext>
            </a:extLst>
          </p:cNvPr>
          <p:cNvSpPr txBox="1"/>
          <p:nvPr/>
        </p:nvSpPr>
        <p:spPr>
          <a:xfrm>
            <a:off x="758595" y="380923"/>
            <a:ext cx="9466419" cy="49064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defTabSz="609630">
              <a:lnSpc>
                <a:spcPts val="4000"/>
              </a:lnSpc>
              <a:defRPr/>
            </a:pPr>
            <a:r>
              <a:rPr lang="en-US" sz="3200" dirty="0" err="1">
                <a:solidFill>
                  <a:srgbClr val="32006E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M:Systems</a:t>
            </a:r>
            <a:r>
              <a:rPr lang="en-US" sz="3200" dirty="0">
                <a:solidFill>
                  <a:srgbClr val="32006E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Support Framework</a:t>
            </a:r>
          </a:p>
        </p:txBody>
      </p:sp>
      <p:sp>
        <p:nvSpPr>
          <p:cNvPr id="2" name="Freeform 3">
            <a:extLst>
              <a:ext uri="{FF2B5EF4-FFF2-40B4-BE49-F238E27FC236}">
                <a16:creationId xmlns:a16="http://schemas.microsoft.com/office/drawing/2014/main" id="{9CD1820C-52C5-3ED8-C00F-D6C537E184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>
          <a:xfrm>
            <a:off x="10695953" y="310881"/>
            <a:ext cx="1174835" cy="792480"/>
          </a:xfrm>
          <a:custGeom>
            <a:avLst/>
            <a:gdLst/>
            <a:ahLst/>
            <a:cxnLst/>
            <a:rect l="l" t="t" r="r" b="b"/>
            <a:pathLst>
              <a:path w="2244072" h="1513729">
                <a:moveTo>
                  <a:pt x="0" y="0"/>
                </a:moveTo>
                <a:lnTo>
                  <a:pt x="2244072" y="0"/>
                </a:lnTo>
                <a:lnTo>
                  <a:pt x="2244072" y="1513728"/>
                </a:lnTo>
                <a:lnTo>
                  <a:pt x="0" y="1513728"/>
                </a:lnTo>
                <a:lnTo>
                  <a:pt x="0" y="0"/>
                </a:lnTo>
                <a:close/>
              </a:path>
            </a:pathLst>
          </a:custGeom>
          <a:blipFill>
            <a:blip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609630">
              <a:defRPr/>
            </a:pPr>
            <a:endParaRPr lang="en-US" sz="120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8" name="TextBox 60">
            <a:extLst>
              <a:ext uri="{FF2B5EF4-FFF2-40B4-BE49-F238E27FC236}">
                <a16:creationId xmlns:a16="http://schemas.microsoft.com/office/drawing/2014/main" id="{339C8A0C-F194-2651-CBE6-CD2C93E8402C}"/>
              </a:ext>
            </a:extLst>
          </p:cNvPr>
          <p:cNvSpPr txBox="1"/>
          <p:nvPr/>
        </p:nvSpPr>
        <p:spPr>
          <a:xfrm>
            <a:off x="829056" y="999745"/>
            <a:ext cx="11348545" cy="24622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srgbClr val="32006E"/>
                </a:solidFill>
                <a:latin typeface="Uni Sans"/>
              </a:rPr>
              <a:t>Need Help? Here’s Where to Find It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32006E"/>
              </a:solidFill>
              <a:effectLst/>
              <a:uLnTx/>
              <a:uFillTx/>
              <a:latin typeface="Uni Sans"/>
              <a:ea typeface="+mn-ea"/>
              <a:cs typeface="+mn-cs"/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16C4EA18-FB97-54BF-42D1-AABFA2214D9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951405" y="2095499"/>
            <a:ext cx="3812276" cy="1505585"/>
          </a:xfrm>
          <a:prstGeom prst="roundRect">
            <a:avLst/>
          </a:prstGeom>
          <a:solidFill>
            <a:srgbClr val="32006E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609630">
              <a:defRPr/>
            </a:pPr>
            <a:r>
              <a:rPr lang="en-US" sz="1200" u="sng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RAINING FORMAT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EC54571-3482-B5F0-7CFE-00B1E74D0F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6345328"/>
              </p:ext>
            </p:extLst>
          </p:nvPr>
        </p:nvGraphicFramePr>
        <p:xfrm>
          <a:off x="8560378" y="2371326"/>
          <a:ext cx="3125787" cy="10668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125787">
                  <a:extLst>
                    <a:ext uri="{9D8B030D-6E8A-4147-A177-3AD203B41FA5}">
                      <a16:colId xmlns:a16="http://schemas.microsoft.com/office/drawing/2014/main" val="1098793455"/>
                    </a:ext>
                  </a:extLst>
                </a:gridCol>
              </a:tblGrid>
              <a:tr h="799628"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buFont typeface="Arial" panose="020B0604020202020204" pitchFamily="34" charset="0"/>
                        <a:buNone/>
                      </a:pPr>
                      <a:endParaRPr lang="en-US" sz="1100" b="0" kern="1200" dirty="0">
                        <a:solidFill>
                          <a:schemeClr val="bg1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marL="0" indent="0" algn="l" defTabSz="914400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lang="en-US" sz="1100" b="1" kern="1200" dirty="0">
                          <a:solidFill>
                            <a:schemeClr val="bg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Lunch &amp; Learns: </a:t>
                      </a:r>
                      <a:r>
                        <a:rPr lang="en-US" sz="1100" b="0" kern="1200" dirty="0">
                          <a:solidFill>
                            <a:schemeClr val="bg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Sept 23</a:t>
                      </a:r>
                      <a:r>
                        <a:rPr lang="en-US" sz="1100" b="0" kern="1200" baseline="30000" dirty="0">
                          <a:solidFill>
                            <a:schemeClr val="bg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rd</a:t>
                      </a:r>
                      <a:r>
                        <a:rPr lang="en-US" sz="1100" b="0" kern="1200" dirty="0">
                          <a:solidFill>
                            <a:schemeClr val="bg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– Oct 21</a:t>
                      </a:r>
                      <a:r>
                        <a:rPr lang="en-US" sz="1100" b="0" kern="1200" baseline="30000" dirty="0">
                          <a:solidFill>
                            <a:schemeClr val="bg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st</a:t>
                      </a:r>
                      <a:r>
                        <a:rPr lang="en-US" sz="1100" b="0" kern="1200" dirty="0">
                          <a:solidFill>
                            <a:schemeClr val="bg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 </a:t>
                      </a:r>
                    </a:p>
                    <a:p>
                      <a:pPr marL="0" indent="0" algn="l" defTabSz="914400" rtl="0" eaLnBrk="1" latinLnBrk="0" hangingPunct="1">
                        <a:buFont typeface="Arial" panose="020B0604020202020204" pitchFamily="34" charset="0"/>
                        <a:buNone/>
                      </a:pPr>
                      <a:endParaRPr lang="en-US" sz="1100" b="0" kern="1200" dirty="0">
                        <a:solidFill>
                          <a:schemeClr val="bg1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marL="0" indent="0" algn="l" defTabSz="914400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lang="en-US" sz="1100" b="1" kern="1200" dirty="0">
                          <a:solidFill>
                            <a:schemeClr val="bg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Training Format: </a:t>
                      </a:r>
                      <a:r>
                        <a:rPr lang="en-US" sz="1100" b="0" kern="1200" dirty="0">
                          <a:solidFill>
                            <a:schemeClr val="bg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ideo Microlearning's </a:t>
                      </a:r>
                    </a:p>
                    <a:p>
                      <a:pPr marL="0" indent="0" algn="l" defTabSz="914400" rtl="0" eaLnBrk="1" latinLnBrk="0" hangingPunct="1">
                        <a:buFont typeface="Arial" panose="020B0604020202020204" pitchFamily="34" charset="0"/>
                        <a:buNone/>
                      </a:pPr>
                      <a:endParaRPr lang="en-US" sz="1100" b="0" kern="1200" dirty="0">
                        <a:solidFill>
                          <a:schemeClr val="bg1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marL="0" indent="0" algn="l" defTabSz="914400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lang="en-US" sz="1100" b="1" kern="1200" dirty="0">
                          <a:solidFill>
                            <a:schemeClr val="bg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FAQs and Job aids:  </a:t>
                      </a:r>
                      <a:r>
                        <a:rPr lang="en-US" sz="1100" b="0" kern="1200" dirty="0">
                          <a:solidFill>
                            <a:schemeClr val="bg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URL address</a:t>
                      </a:r>
                      <a:endParaRPr lang="en-US" sz="1100" b="0" kern="1200" baseline="30000" dirty="0">
                        <a:solidFill>
                          <a:schemeClr val="bg1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0960" marR="60960" marT="30480" marB="30480" anchor="ctr"/>
                </a:tc>
                <a:extLst>
                  <a:ext uri="{0D108BD9-81ED-4DB2-BD59-A6C34878D82A}">
                    <a16:rowId xmlns:a16="http://schemas.microsoft.com/office/drawing/2014/main" val="2880802077"/>
                  </a:ext>
                </a:extLst>
              </a:tr>
            </a:tbl>
          </a:graphicData>
        </a:graphic>
      </p:graphicFrame>
      <p:pic>
        <p:nvPicPr>
          <p:cNvPr id="13" name="Graphic 12">
            <a:extLst>
              <a:ext uri="{FF2B5EF4-FFF2-40B4-BE49-F238E27FC236}">
                <a16:creationId xmlns:a16="http://schemas.microsoft.com/office/drawing/2014/main" id="{E00EEAB2-BBFE-B4BA-E6BC-56B92C353AE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083782" y="2739024"/>
            <a:ext cx="446836" cy="426720"/>
          </a:xfrm>
          <a:prstGeom prst="rect">
            <a:avLst/>
          </a:prstGeom>
        </p:spPr>
      </p:pic>
      <p:sp>
        <p:nvSpPr>
          <p:cNvPr id="3" name="Google Shape;671;p74">
            <a:extLst>
              <a:ext uri="{FF2B5EF4-FFF2-40B4-BE49-F238E27FC236}">
                <a16:creationId xmlns:a16="http://schemas.microsoft.com/office/drawing/2014/main" id="{A478F11C-5619-A863-7C02-F63A37048EA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73462" y="2715322"/>
            <a:ext cx="5103855" cy="1980987"/>
          </a:xfrm>
          <a:prstGeom prst="rect">
            <a:avLst/>
          </a:prstGeom>
          <a:noFill/>
          <a:ln w="19050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243833" tIns="60933" rIns="243833" bIns="60933" anchor="t" anchorCtr="0">
            <a:noAutofit/>
          </a:bodyPr>
          <a:lstStyle/>
          <a:p>
            <a:pPr algn="ctr" defTabSz="1219261">
              <a:buClr>
                <a:srgbClr val="000000"/>
              </a:buClr>
            </a:pPr>
            <a:r>
              <a:rPr lang="en" sz="1100" b="1" kern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Calibri"/>
              </a:rPr>
              <a:t>Supports 76% of all Users</a:t>
            </a:r>
            <a:endParaRPr sz="1100" kern="0">
              <a:solidFill>
                <a:srgbClr val="888888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Calibri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5BCB2F5B-BAB5-929F-E75D-60151DB794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3260086" y="3102629"/>
            <a:ext cx="1005840" cy="235898"/>
          </a:xfrm>
          <a:prstGeom prst="rect">
            <a:avLst/>
          </a:prstGeom>
          <a:solidFill>
            <a:schemeClr val="bg1"/>
          </a:solidFill>
          <a:ln>
            <a:solidFill>
              <a:srgbClr val="32006E"/>
            </a:solidFill>
          </a:ln>
        </p:spPr>
        <p:txBody>
          <a:bodyPr wrap="none" rtlCol="0" anchor="ctr">
            <a:spAutoFit/>
          </a:bodyPr>
          <a:lstStyle/>
          <a:p>
            <a:pPr algn="ctr"/>
            <a:r>
              <a:rPr lang="en-US" sz="933">
                <a:solidFill>
                  <a:srgbClr val="32006E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edicine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FD109EBB-C8A6-95A9-C026-F933C28E271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4470521" y="3102629"/>
            <a:ext cx="1005840" cy="23589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32006E"/>
            </a:solidFill>
          </a:ln>
        </p:spPr>
        <p:txBody>
          <a:bodyPr wrap="none" rtlCol="0" anchor="ctr">
            <a:spAutoFit/>
          </a:bodyPr>
          <a:lstStyle/>
          <a:p>
            <a:pPr algn="ctr"/>
            <a:r>
              <a:rPr lang="en-US" sz="933">
                <a:solidFill>
                  <a:srgbClr val="32006E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UW Campuses</a:t>
            </a:r>
          </a:p>
        </p:txBody>
      </p:sp>
      <p:pic>
        <p:nvPicPr>
          <p:cNvPr id="39" name="Graphic 38">
            <a:extLst>
              <a:ext uri="{FF2B5EF4-FFF2-40B4-BE49-F238E27FC236}">
                <a16:creationId xmlns:a16="http://schemas.microsoft.com/office/drawing/2014/main" id="{129EA246-88D9-EA59-D838-4EA0008576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38212" y="3693029"/>
            <a:ext cx="914400" cy="914400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DE75AE2E-9F24-0079-DC02-65A7FCF316E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2084370" y="3102629"/>
            <a:ext cx="1007006" cy="235898"/>
          </a:xfrm>
          <a:prstGeom prst="rect">
            <a:avLst/>
          </a:prstGeom>
          <a:solidFill>
            <a:schemeClr val="bg1"/>
          </a:solidFill>
          <a:ln>
            <a:solidFill>
              <a:srgbClr val="32006E"/>
            </a:solidFill>
          </a:ln>
        </p:spPr>
        <p:txBody>
          <a:bodyPr wrap="none" rtlCol="0" anchor="ctr">
            <a:spAutoFit/>
          </a:bodyPr>
          <a:lstStyle/>
          <a:p>
            <a:pPr algn="ctr"/>
            <a:r>
              <a:rPr lang="en-US" sz="933">
                <a:solidFill>
                  <a:srgbClr val="32006E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hared Service</a:t>
            </a:r>
          </a:p>
        </p:txBody>
      </p:sp>
      <p:pic>
        <p:nvPicPr>
          <p:cNvPr id="43" name="Graphic 42">
            <a:extLst>
              <a:ext uri="{FF2B5EF4-FFF2-40B4-BE49-F238E27FC236}">
                <a16:creationId xmlns:a16="http://schemas.microsoft.com/office/drawing/2014/main" id="{A05B80B9-1037-16F6-9166-1F1FCF89BC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603394" y="3523183"/>
            <a:ext cx="320040" cy="320040"/>
          </a:xfrm>
          <a:prstGeom prst="rect">
            <a:avLst/>
          </a:prstGeom>
        </p:spPr>
      </p:pic>
      <p:pic>
        <p:nvPicPr>
          <p:cNvPr id="44" name="Graphic 43">
            <a:extLst>
              <a:ext uri="{FF2B5EF4-FFF2-40B4-BE49-F238E27FC236}">
                <a16:creationId xmlns:a16="http://schemas.microsoft.com/office/drawing/2014/main" id="{DB4CCFD6-EBF8-4723-0D48-B04DAC51644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611037" y="3878703"/>
            <a:ext cx="320040" cy="320040"/>
          </a:xfrm>
          <a:prstGeom prst="rect">
            <a:avLst/>
          </a:prstGeom>
        </p:spPr>
      </p:pic>
      <p:sp>
        <p:nvSpPr>
          <p:cNvPr id="46" name="TextBox 45">
            <a:extLst>
              <a:ext uri="{FF2B5EF4-FFF2-40B4-BE49-F238E27FC236}">
                <a16:creationId xmlns:a16="http://schemas.microsoft.com/office/drawing/2014/main" id="{5D34BBFE-3C9C-AEC6-E268-9FDB04E52D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4852794" y="3560093"/>
            <a:ext cx="581014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219261"/>
            <a:r>
              <a:rPr lang="en" sz="1000" ker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UWB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E148F5CE-B596-683C-8333-D4D32A3337C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4842390" y="3915613"/>
            <a:ext cx="581014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219261"/>
            <a:r>
              <a:rPr lang="en" sz="1000" ker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UWT</a:t>
            </a:r>
          </a:p>
        </p:txBody>
      </p:sp>
      <p:pic>
        <p:nvPicPr>
          <p:cNvPr id="48" name="Graphic 47">
            <a:extLst>
              <a:ext uri="{FF2B5EF4-FFF2-40B4-BE49-F238E27FC236}">
                <a16:creationId xmlns:a16="http://schemas.microsoft.com/office/drawing/2014/main" id="{F90951A6-F40A-F058-A8B9-7A3E1C0D8C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428434" y="3528098"/>
            <a:ext cx="320040" cy="320040"/>
          </a:xfrm>
          <a:prstGeom prst="rect">
            <a:avLst/>
          </a:prstGeom>
        </p:spPr>
      </p:pic>
      <p:pic>
        <p:nvPicPr>
          <p:cNvPr id="49" name="Graphic 48">
            <a:extLst>
              <a:ext uri="{FF2B5EF4-FFF2-40B4-BE49-F238E27FC236}">
                <a16:creationId xmlns:a16="http://schemas.microsoft.com/office/drawing/2014/main" id="{A8100765-AA02-BC94-8E9C-A876017266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436077" y="3883618"/>
            <a:ext cx="320040" cy="320040"/>
          </a:xfrm>
          <a:prstGeom prst="rect">
            <a:avLst/>
          </a:prstGeom>
        </p:spPr>
      </p:pic>
      <p:sp>
        <p:nvSpPr>
          <p:cNvPr id="50" name="TextBox 49">
            <a:extLst>
              <a:ext uri="{FF2B5EF4-FFF2-40B4-BE49-F238E27FC236}">
                <a16:creationId xmlns:a16="http://schemas.microsoft.com/office/drawing/2014/main" id="{31EDF6BE-71AC-2462-CA43-5B90D5E8D6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3672638" y="3589580"/>
            <a:ext cx="581014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219261"/>
            <a:r>
              <a:rPr lang="en" sz="1000" ker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HMC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8D40921B-69F7-6EE0-ED0B-17BA57167F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3628680" y="3968950"/>
            <a:ext cx="668930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219261"/>
            <a:r>
              <a:rPr lang="en" sz="1000" ker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UWMC</a:t>
            </a:r>
          </a:p>
        </p:txBody>
      </p:sp>
      <p:pic>
        <p:nvPicPr>
          <p:cNvPr id="54" name="Graphic 53">
            <a:extLst>
              <a:ext uri="{FF2B5EF4-FFF2-40B4-BE49-F238E27FC236}">
                <a16:creationId xmlns:a16="http://schemas.microsoft.com/office/drawing/2014/main" id="{9B5D822D-0B8B-5E1A-F371-08917A16B95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246205" y="3448952"/>
            <a:ext cx="274320" cy="274320"/>
          </a:xfrm>
          <a:prstGeom prst="rect">
            <a:avLst/>
          </a:prstGeom>
        </p:spPr>
      </p:pic>
      <p:pic>
        <p:nvPicPr>
          <p:cNvPr id="55" name="Graphic 54">
            <a:extLst>
              <a:ext uri="{FF2B5EF4-FFF2-40B4-BE49-F238E27FC236}">
                <a16:creationId xmlns:a16="http://schemas.microsoft.com/office/drawing/2014/main" id="{3EE4053F-4521-1F2D-666C-F9F88FFC77F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241287" y="3732365"/>
            <a:ext cx="274320" cy="274320"/>
          </a:xfrm>
          <a:prstGeom prst="rect">
            <a:avLst/>
          </a:prstGeom>
        </p:spPr>
      </p:pic>
      <p:sp>
        <p:nvSpPr>
          <p:cNvPr id="56" name="TextBox 55">
            <a:extLst>
              <a:ext uri="{FF2B5EF4-FFF2-40B4-BE49-F238E27FC236}">
                <a16:creationId xmlns:a16="http://schemas.microsoft.com/office/drawing/2014/main" id="{D44450C7-90CE-E11B-6FB2-B3BF97BE8F9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2609435" y="3448260"/>
            <a:ext cx="548640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219261"/>
            <a:r>
              <a:rPr lang="en" sz="1000" ker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AA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83D0F6AB-ACFE-5193-2A73-D9FCAE4D4B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2655155" y="3728481"/>
            <a:ext cx="457200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219261"/>
            <a:r>
              <a:rPr lang="en" sz="1000" ker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PR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F2D254BF-7E74-97FD-92C4-36FCAA22E9B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2534484" y="4036472"/>
            <a:ext cx="698543" cy="246221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ctr" defTabSz="1219261"/>
            <a:r>
              <a:rPr lang="en" sz="1000" kern="0">
                <a:latin typeface="Open Sans"/>
                <a:ea typeface="Open Sans"/>
                <a:cs typeface="Open Sans"/>
              </a:rPr>
              <a:t>Facilites</a:t>
            </a:r>
            <a:endParaRPr lang="en" sz="1000" kern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60" name="Graphic 59">
            <a:extLst>
              <a:ext uri="{FF2B5EF4-FFF2-40B4-BE49-F238E27FC236}">
                <a16:creationId xmlns:a16="http://schemas.microsoft.com/office/drawing/2014/main" id="{F5EA77E6-9C3D-B06D-C129-4A109E0ABD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170293" y="3998849"/>
            <a:ext cx="320040" cy="320040"/>
          </a:xfrm>
          <a:prstGeom prst="rect">
            <a:avLst/>
          </a:prstGeom>
        </p:spPr>
      </p:pic>
      <p:pic>
        <p:nvPicPr>
          <p:cNvPr id="61" name="Graphic 60">
            <a:extLst>
              <a:ext uri="{FF2B5EF4-FFF2-40B4-BE49-F238E27FC236}">
                <a16:creationId xmlns:a16="http://schemas.microsoft.com/office/drawing/2014/main" id="{C365B194-05CC-E474-A1F6-837261C144B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357683" y="4025738"/>
            <a:ext cx="274320" cy="274320"/>
          </a:xfrm>
          <a:prstGeom prst="rect">
            <a:avLst/>
          </a:prstGeom>
        </p:spPr>
      </p:pic>
      <p:pic>
        <p:nvPicPr>
          <p:cNvPr id="63" name="Graphic 62">
            <a:extLst>
              <a:ext uri="{FF2B5EF4-FFF2-40B4-BE49-F238E27FC236}">
                <a16:creationId xmlns:a16="http://schemas.microsoft.com/office/drawing/2014/main" id="{2C835CCB-B5C6-1673-A47A-428FD0B18B9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38212" y="3412810"/>
            <a:ext cx="914400" cy="914400"/>
          </a:xfrm>
          <a:prstGeom prst="rect">
            <a:avLst/>
          </a:prstGeom>
        </p:spPr>
      </p:pic>
      <p:sp>
        <p:nvSpPr>
          <p:cNvPr id="67" name="Rectangle 66">
            <a:extLst>
              <a:ext uri="{FF2B5EF4-FFF2-40B4-BE49-F238E27FC236}">
                <a16:creationId xmlns:a16="http://schemas.microsoft.com/office/drawing/2014/main" id="{AE38E89A-9500-D581-B2C5-D5C0334779E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535726" y="3399039"/>
            <a:ext cx="1492164" cy="615267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C70582BA-EE73-5F5C-5FB1-CA321B91BD9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640293" y="3102629"/>
            <a:ext cx="1143000" cy="235898"/>
          </a:xfrm>
          <a:prstGeom prst="rect">
            <a:avLst/>
          </a:prstGeom>
          <a:solidFill>
            <a:schemeClr val="bg1"/>
          </a:solidFill>
          <a:ln>
            <a:solidFill>
              <a:srgbClr val="32006E"/>
            </a:solidFill>
          </a:ln>
        </p:spPr>
        <p:txBody>
          <a:bodyPr wrap="none" rtlCol="0" anchor="ctr">
            <a:spAutoFit/>
          </a:bodyPr>
          <a:lstStyle/>
          <a:p>
            <a:pPr algn="ctr"/>
            <a:r>
              <a:rPr lang="en-US" sz="933">
                <a:solidFill>
                  <a:srgbClr val="32006E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lleges</a:t>
            </a:r>
          </a:p>
        </p:txBody>
      </p:sp>
      <p:pic>
        <p:nvPicPr>
          <p:cNvPr id="68" name="Graphic 67">
            <a:extLst>
              <a:ext uri="{FF2B5EF4-FFF2-40B4-BE49-F238E27FC236}">
                <a16:creationId xmlns:a16="http://schemas.microsoft.com/office/drawing/2014/main" id="{E7F40C2B-A53F-FE2D-7517-45816B1EBE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35392" y="3718631"/>
            <a:ext cx="320040" cy="320040"/>
          </a:xfrm>
          <a:prstGeom prst="rect">
            <a:avLst/>
          </a:prstGeom>
        </p:spPr>
      </p:pic>
      <p:pic>
        <p:nvPicPr>
          <p:cNvPr id="69" name="Graphic 68">
            <a:extLst>
              <a:ext uri="{FF2B5EF4-FFF2-40B4-BE49-F238E27FC236}">
                <a16:creationId xmlns:a16="http://schemas.microsoft.com/office/drawing/2014/main" id="{554E56D0-3005-0360-905D-187E721A089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33159" y="3743922"/>
            <a:ext cx="274320" cy="274320"/>
          </a:xfrm>
          <a:prstGeom prst="rect">
            <a:avLst/>
          </a:prstGeom>
        </p:spPr>
      </p:pic>
      <p:pic>
        <p:nvPicPr>
          <p:cNvPr id="70" name="Graphic 69">
            <a:extLst>
              <a:ext uri="{FF2B5EF4-FFF2-40B4-BE49-F238E27FC236}">
                <a16:creationId xmlns:a16="http://schemas.microsoft.com/office/drawing/2014/main" id="{E92AAE82-BBC6-06DE-9600-6B9A7F049E3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03972" y="3444036"/>
            <a:ext cx="274320" cy="274320"/>
          </a:xfrm>
          <a:prstGeom prst="rect">
            <a:avLst/>
          </a:prstGeom>
        </p:spPr>
      </p:pic>
      <p:sp>
        <p:nvSpPr>
          <p:cNvPr id="71" name="TextBox 70">
            <a:extLst>
              <a:ext uri="{FF2B5EF4-FFF2-40B4-BE49-F238E27FC236}">
                <a16:creationId xmlns:a16="http://schemas.microsoft.com/office/drawing/2014/main" id="{9EBBABF5-5894-3252-6684-60B5CFDAB92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303636" y="3463012"/>
            <a:ext cx="594360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219261"/>
            <a:r>
              <a:rPr lang="en" sz="1000" ker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Env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25F34EFD-F3A1-069D-955A-B1BA281235C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303636" y="3733401"/>
            <a:ext cx="594360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219261"/>
            <a:r>
              <a:rPr lang="en" sz="1000" ker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E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BEDDE3A6-7BEA-EE08-090D-13586CCEBB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303636" y="4041392"/>
            <a:ext cx="594360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219261"/>
            <a:r>
              <a:rPr lang="en" sz="1000" ker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AS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339F3C0F-AEAD-3CC1-CAED-37A5C849F08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303636" y="4311776"/>
            <a:ext cx="594360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219261"/>
            <a:r>
              <a:rPr lang="en" sz="1000" ker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M</a:t>
            </a:r>
          </a:p>
        </p:txBody>
      </p:sp>
      <p:sp>
        <p:nvSpPr>
          <p:cNvPr id="75" name="Rectangle: Rounded Corners 74">
            <a:extLst>
              <a:ext uri="{FF2B5EF4-FFF2-40B4-BE49-F238E27FC236}">
                <a16:creationId xmlns:a16="http://schemas.microsoft.com/office/drawing/2014/main" id="{F6E0441D-8376-12A0-ABAF-B4532F5979E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672432" y="5218895"/>
            <a:ext cx="2879846" cy="1370213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 algn="ctr" defTabSz="609630" fontAlgn="ctr">
              <a:defRPr/>
            </a:pPr>
            <a:r>
              <a:rPr lang="en-US" sz="1400" u="sng">
                <a:solidFill>
                  <a:srgbClr val="32006E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HELP DESK (uwftech@uw.edu)</a:t>
            </a:r>
          </a:p>
          <a:p>
            <a:pPr algn="ctr" defTabSz="609630" fontAlgn="ctr">
              <a:defRPr/>
            </a:pPr>
            <a:r>
              <a:rPr lang="en-US" sz="1100" b="1" kern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Calibri"/>
              </a:rPr>
              <a:t>Supports 24% of all Users</a:t>
            </a:r>
            <a:endParaRPr lang="en-US" sz="1100" kern="0">
              <a:solidFill>
                <a:srgbClr val="888888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Calibri"/>
            </a:endParaRPr>
          </a:p>
          <a:p>
            <a:pPr lvl="0" algn="ctr" defTabSz="609630" fontAlgn="ctr">
              <a:defRPr/>
            </a:pPr>
            <a:endParaRPr lang="en-US" sz="1400" u="sng">
              <a:solidFill>
                <a:srgbClr val="32006E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7B629D4-114E-BCFB-DDFA-EF840822CD4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50960" y="5815306"/>
            <a:ext cx="524041" cy="59817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AAF0B6A-8750-9230-D061-B31DBE60A86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2476" y="5815306"/>
            <a:ext cx="524041" cy="598173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31E16F2-5941-FED4-160A-2579DD8A7B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993" y="5815306"/>
            <a:ext cx="524041" cy="598173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0AA894C2-9B2C-9CCB-E70B-EDBC83DB986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094799" y="1370642"/>
            <a:ext cx="6080760" cy="2743200"/>
          </a:xfrm>
          <a:prstGeom prst="rect">
            <a:avLst/>
          </a:prstGeom>
          <a:solidFill>
            <a:schemeClr val="bg2">
              <a:lumMod val="90000"/>
            </a:schemeClr>
          </a:solidFill>
          <a:ln w="12700">
            <a:solidFill>
              <a:srgbClr val="32006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A656C23-6F0F-7FAE-5DE7-50F0442E4AAF}"/>
              </a:ext>
            </a:extLst>
          </p:cNvPr>
          <p:cNvSpPr txBox="1"/>
          <p:nvPr/>
        </p:nvSpPr>
        <p:spPr>
          <a:xfrm>
            <a:off x="26274" y="1612866"/>
            <a:ext cx="608076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ier 1: First stop for simple solutions.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26A91B0-FEC7-E437-754C-F918B708F47E}"/>
              </a:ext>
            </a:extLst>
          </p:cNvPr>
          <p:cNvSpPr txBox="1"/>
          <p:nvPr/>
        </p:nvSpPr>
        <p:spPr>
          <a:xfrm>
            <a:off x="6111240" y="1612866"/>
            <a:ext cx="608076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ier 2: Next-level support for escalated issues.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1BF8248-4519-AE29-5912-A644FEC8A992}"/>
              </a:ext>
            </a:extLst>
          </p:cNvPr>
          <p:cNvSpPr txBox="1"/>
          <p:nvPr/>
        </p:nvSpPr>
        <p:spPr>
          <a:xfrm>
            <a:off x="6100424" y="4351774"/>
            <a:ext cx="608076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ier 3: Handles the hardest problems</a:t>
            </a: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6FBB9F60-82E7-97D5-BBE4-2AF411B357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658929" y="2439155"/>
            <a:ext cx="3419287" cy="1111785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 algn="ctr" defTabSz="609630" fontAlgn="ctr">
              <a:defRPr/>
            </a:pPr>
            <a:r>
              <a:rPr lang="en-US" sz="1400" u="sng">
                <a:solidFill>
                  <a:srgbClr val="32006E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UWF: BIT (Escalation from Tier 1)</a:t>
            </a:r>
          </a:p>
        </p:txBody>
      </p:sp>
      <p:pic>
        <p:nvPicPr>
          <p:cNvPr id="29" name="Graphic 28">
            <a:extLst>
              <a:ext uri="{FF2B5EF4-FFF2-40B4-BE49-F238E27FC236}">
                <a16:creationId xmlns:a16="http://schemas.microsoft.com/office/drawing/2014/main" id="{EF8D8FD2-CBFE-2098-DE65-0FE9C37F9DA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048532" y="2798738"/>
            <a:ext cx="640080" cy="640080"/>
          </a:xfrm>
          <a:prstGeom prst="rect">
            <a:avLst/>
          </a:prstGeom>
        </p:spPr>
      </p:pic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BBF2432E-9570-2920-21B4-09A181161E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658929" y="5049125"/>
            <a:ext cx="3419287" cy="1111785"/>
          </a:xfrm>
          <a:prstGeom prst="roundRect">
            <a:avLst/>
          </a:prstGeom>
          <a:solidFill>
            <a:srgbClr val="32006E"/>
          </a:solidFill>
          <a:ln w="19050"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 algn="ctr" defTabSz="609630" fontAlgn="ctr">
              <a:defRPr/>
            </a:pPr>
            <a:r>
              <a:rPr lang="en-US" sz="1400" u="sng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MS (Escalation from Tier 2)</a:t>
            </a:r>
          </a:p>
        </p:txBody>
      </p:sp>
      <p:pic>
        <p:nvPicPr>
          <p:cNvPr id="33" name="Graphic 32">
            <a:extLst>
              <a:ext uri="{FF2B5EF4-FFF2-40B4-BE49-F238E27FC236}">
                <a16:creationId xmlns:a16="http://schemas.microsoft.com/office/drawing/2014/main" id="{0D2B1BCE-097B-00B9-03EF-24EA0D4217E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048532" y="5429872"/>
            <a:ext cx="640080" cy="640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6909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21" grpId="0"/>
      <p:bldP spid="22" grpId="0"/>
      <p:bldP spid="23" grpId="0" animBg="1"/>
      <p:bldP spid="31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2244A83-99FF-0050-F8B3-F2EA20CF75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91445" y="1119546"/>
            <a:ext cx="8409109" cy="5607825"/>
          </a:xfrm>
          <a:prstGeom prst="rect">
            <a:avLst/>
          </a:prstGeom>
        </p:spPr>
      </p:pic>
      <p:sp>
        <p:nvSpPr>
          <p:cNvPr id="4" name="TextBox 2">
            <a:extLst>
              <a:ext uri="{FF2B5EF4-FFF2-40B4-BE49-F238E27FC236}">
                <a16:creationId xmlns:a16="http://schemas.microsoft.com/office/drawing/2014/main" id="{496FA899-40AB-B89B-FCE7-74E34482425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/>
          <p:nvPr/>
        </p:nvSpPr>
        <p:spPr>
          <a:xfrm>
            <a:off x="758595" y="380923"/>
            <a:ext cx="9466419" cy="49064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200">
                <a:solidFill>
                  <a:srgbClr val="32006E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hank you!</a:t>
            </a: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32006E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97457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E113655-5C79-3E72-E5C2-ED1FD1BCA8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2">
            <a:extLst>
              <a:ext uri="{FF2B5EF4-FFF2-40B4-BE49-F238E27FC236}">
                <a16:creationId xmlns:a16="http://schemas.microsoft.com/office/drawing/2014/main" id="{9C6F18F3-1010-A807-82AD-348CF33C9520}"/>
              </a:ext>
            </a:extLst>
          </p:cNvPr>
          <p:cNvSpPr txBox="1"/>
          <p:nvPr/>
        </p:nvSpPr>
        <p:spPr>
          <a:xfrm>
            <a:off x="758595" y="380923"/>
            <a:ext cx="9466419" cy="49064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defTabSz="609630">
              <a:lnSpc>
                <a:spcPts val="4000"/>
              </a:lnSpc>
              <a:defRPr/>
            </a:pPr>
            <a:r>
              <a:rPr lang="en-US" sz="3200" dirty="0">
                <a:solidFill>
                  <a:srgbClr val="32006E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genda</a:t>
            </a:r>
          </a:p>
        </p:txBody>
      </p:sp>
      <p:sp>
        <p:nvSpPr>
          <p:cNvPr id="7" name="Text Placeholder 17">
            <a:extLst>
              <a:ext uri="{FF2B5EF4-FFF2-40B4-BE49-F238E27FC236}">
                <a16:creationId xmlns:a16="http://schemas.microsoft.com/office/drawing/2014/main" id="{6095B6CD-BA5E-C3A9-651E-778DF98A2F71}"/>
              </a:ext>
            </a:extLst>
          </p:cNvPr>
          <p:cNvSpPr txBox="1">
            <a:spLocks/>
          </p:cNvSpPr>
          <p:nvPr/>
        </p:nvSpPr>
        <p:spPr>
          <a:xfrm>
            <a:off x="3351497" y="4367588"/>
            <a:ext cx="10494677" cy="441730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 algn="l">
              <a:spcBef>
                <a:spcPts val="10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4B2E8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What’s New and Why You’ll Care</a:t>
            </a:r>
          </a:p>
          <a:p>
            <a:pPr marL="285750" indent="-285750" algn="l">
              <a:spcBef>
                <a:spcPts val="10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4B2E8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raining Resources and Access Requirements</a:t>
            </a:r>
          </a:p>
          <a:p>
            <a:pPr marL="285750" indent="-285750" algn="l">
              <a:spcBef>
                <a:spcPts val="10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dirty="0" err="1">
                <a:solidFill>
                  <a:srgbClr val="4B2E8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M:Systems</a:t>
            </a:r>
            <a:r>
              <a:rPr lang="en-US" sz="2400" dirty="0">
                <a:solidFill>
                  <a:srgbClr val="4B2E8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Support Framework</a:t>
            </a:r>
          </a:p>
        </p:txBody>
      </p:sp>
      <p:pic>
        <p:nvPicPr>
          <p:cNvPr id="2" name="Picture 1" descr="Architectural floor plan of a multi‑wing building showing labeled rooms, corridors, stairwells, restrooms, and utility areas on one level">
            <a:extLst>
              <a:ext uri="{FF2B5EF4-FFF2-40B4-BE49-F238E27FC236}">
                <a16:creationId xmlns:a16="http://schemas.microsoft.com/office/drawing/2014/main" id="{FF39F28E-EF24-9CA5-0AA7-4A8D95A3F5F4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8595" y="1098383"/>
            <a:ext cx="9470806" cy="5251046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Freeform 3">
            <a:extLst>
              <a:ext uri="{FF2B5EF4-FFF2-40B4-BE49-F238E27FC236}">
                <a16:creationId xmlns:a16="http://schemas.microsoft.com/office/drawing/2014/main" id="{8DA9B9D5-E333-9C97-277D-B18B513E882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0695952" y="5848847"/>
            <a:ext cx="1496048" cy="1009153"/>
          </a:xfrm>
          <a:custGeom>
            <a:avLst/>
            <a:gdLst/>
            <a:ahLst/>
            <a:cxnLst/>
            <a:rect l="l" t="t" r="r" b="b"/>
            <a:pathLst>
              <a:path w="2244072" h="1513729">
                <a:moveTo>
                  <a:pt x="0" y="0"/>
                </a:moveTo>
                <a:lnTo>
                  <a:pt x="2244072" y="0"/>
                </a:lnTo>
                <a:lnTo>
                  <a:pt x="2244072" y="1513728"/>
                </a:lnTo>
                <a:lnTo>
                  <a:pt x="0" y="1513728"/>
                </a:lnTo>
                <a:lnTo>
                  <a:pt x="0" y="0"/>
                </a:lnTo>
                <a:close/>
              </a:path>
            </a:pathLst>
          </a:custGeom>
          <a:blipFill>
            <a:blip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609630">
              <a:defRPr/>
            </a:pPr>
            <a:endParaRPr lang="en-US" sz="120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40987609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CE92BE2-8017-7E35-7331-985B1F1702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TextBox 34">
            <a:extLst>
              <a:ext uri="{FF2B5EF4-FFF2-40B4-BE49-F238E27FC236}">
                <a16:creationId xmlns:a16="http://schemas.microsoft.com/office/drawing/2014/main" id="{0B2043F2-94CC-F096-3494-100575D79555}"/>
              </a:ext>
            </a:extLst>
          </p:cNvPr>
          <p:cNvSpPr txBox="1"/>
          <p:nvPr/>
        </p:nvSpPr>
        <p:spPr>
          <a:xfrm>
            <a:off x="829601" y="382864"/>
            <a:ext cx="8546204" cy="49244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spcBef>
                <a:spcPts val="1000"/>
              </a:spcBef>
              <a:spcAft>
                <a:spcPts val="600"/>
              </a:spcAft>
            </a:pPr>
            <a:r>
              <a:rPr lang="en-US" sz="3200" dirty="0">
                <a:solidFill>
                  <a:srgbClr val="4B2E8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What’s New and Why You’ll Care</a:t>
            </a:r>
          </a:p>
        </p:txBody>
      </p:sp>
      <p:sp>
        <p:nvSpPr>
          <p:cNvPr id="4" name="TextBox 60">
            <a:extLst>
              <a:ext uri="{FF2B5EF4-FFF2-40B4-BE49-F238E27FC236}">
                <a16:creationId xmlns:a16="http://schemas.microsoft.com/office/drawing/2014/main" id="{D7786309-DA26-DC37-2DB5-7522BA6CAA57}"/>
              </a:ext>
            </a:extLst>
          </p:cNvPr>
          <p:cNvSpPr txBox="1"/>
          <p:nvPr/>
        </p:nvSpPr>
        <p:spPr>
          <a:xfrm>
            <a:off x="829056" y="999745"/>
            <a:ext cx="11348545" cy="24622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>
                <a:solidFill>
                  <a:srgbClr val="32006E"/>
                </a:solidFill>
                <a:latin typeface="Uni Sans"/>
              </a:rPr>
              <a:t>Evaluation of InVision and </a:t>
            </a:r>
            <a:r>
              <a:rPr lang="en-US" sz="1600" err="1">
                <a:solidFill>
                  <a:srgbClr val="32006E"/>
                </a:solidFill>
                <a:latin typeface="Uni Sans"/>
              </a:rPr>
              <a:t>FM:Systems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32006E"/>
              </a:solidFill>
              <a:effectLst/>
              <a:uLnTx/>
              <a:uFillTx/>
              <a:latin typeface="Uni Sans"/>
              <a:ea typeface="+mn-ea"/>
              <a:cs typeface="+mn-cs"/>
            </a:endParaRPr>
          </a:p>
        </p:txBody>
      </p:sp>
      <p:sp>
        <p:nvSpPr>
          <p:cNvPr id="73" name="Rectangle: Rounded Corners 72">
            <a:extLst>
              <a:ext uri="{FF2B5EF4-FFF2-40B4-BE49-F238E27FC236}">
                <a16:creationId xmlns:a16="http://schemas.microsoft.com/office/drawing/2014/main" id="{74AAE0EC-4A8D-1BE8-EF17-B1E12B0330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75415" y="1677880"/>
            <a:ext cx="11348544" cy="4835356"/>
          </a:xfrm>
          <a:prstGeom prst="roundRect">
            <a:avLst/>
          </a:prstGeom>
          <a:solidFill>
            <a:schemeClr val="bg2">
              <a:lumMod val="90000"/>
            </a:schemeClr>
          </a:solidFill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609630">
              <a:defRPr/>
            </a:pPr>
            <a:r>
              <a:rPr lang="en-US" sz="2000" b="1">
                <a:solidFill>
                  <a:srgbClr val="32006E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EATURE COMPARISON 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E258384C-9E08-C724-8267-CA1FE291861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16546900"/>
              </p:ext>
            </p:extLst>
          </p:nvPr>
        </p:nvGraphicFramePr>
        <p:xfrm>
          <a:off x="626280" y="2456503"/>
          <a:ext cx="10885117" cy="360431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008665">
                  <a:extLst>
                    <a:ext uri="{9D8B030D-6E8A-4147-A177-3AD203B41FA5}">
                      <a16:colId xmlns:a16="http://schemas.microsoft.com/office/drawing/2014/main" val="1318859407"/>
                    </a:ext>
                  </a:extLst>
                </a:gridCol>
                <a:gridCol w="1325664">
                  <a:extLst>
                    <a:ext uri="{9D8B030D-6E8A-4147-A177-3AD203B41FA5}">
                      <a16:colId xmlns:a16="http://schemas.microsoft.com/office/drawing/2014/main" val="2824883705"/>
                    </a:ext>
                  </a:extLst>
                </a:gridCol>
                <a:gridCol w="1325664">
                  <a:extLst>
                    <a:ext uri="{9D8B030D-6E8A-4147-A177-3AD203B41FA5}">
                      <a16:colId xmlns:a16="http://schemas.microsoft.com/office/drawing/2014/main" val="3410966242"/>
                    </a:ext>
                  </a:extLst>
                </a:gridCol>
                <a:gridCol w="1038327">
                  <a:extLst>
                    <a:ext uri="{9D8B030D-6E8A-4147-A177-3AD203B41FA5}">
                      <a16:colId xmlns:a16="http://schemas.microsoft.com/office/drawing/2014/main" val="1288641337"/>
                    </a:ext>
                  </a:extLst>
                </a:gridCol>
                <a:gridCol w="5186797">
                  <a:extLst>
                    <a:ext uri="{9D8B030D-6E8A-4147-A177-3AD203B41FA5}">
                      <a16:colId xmlns:a16="http://schemas.microsoft.com/office/drawing/2014/main" val="3487597334"/>
                    </a:ext>
                  </a:extLst>
                </a:gridCol>
              </a:tblGrid>
              <a:tr h="323509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200" b="1" u="none" strike="noStrike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Feature</a:t>
                      </a:r>
                      <a:endParaRPr lang="en-US" sz="1200" b="1" i="0" u="none" strike="noStrike">
                        <a:solidFill>
                          <a:srgbClr val="FFFFFF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69" marR="3469" marT="3469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200" b="1" u="none" strike="noStrike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InVision </a:t>
                      </a:r>
                      <a:endParaRPr lang="en-US" sz="1200" b="1" i="0" u="none" strike="noStrike">
                        <a:solidFill>
                          <a:srgbClr val="FFFFFF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69" marR="3469" marT="3469" marB="0" anchor="ctr"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200" b="1" u="none" strike="noStrike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FM:Systems (FMS) </a:t>
                      </a:r>
                      <a:endParaRPr lang="en-US" sz="1200" b="1" i="0" u="none" strike="noStrike">
                        <a:solidFill>
                          <a:srgbClr val="FFFFFF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69" marR="3469" marT="3469" marB="0" anchor="ctr"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200" b="1" u="none" strike="noStrike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Comparison</a:t>
                      </a:r>
                      <a:endParaRPr lang="en-US" sz="1200" b="1" i="0" u="none" strike="noStrike">
                        <a:solidFill>
                          <a:srgbClr val="FFFFFF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69" marR="3469" marT="3469" marB="0" anchor="ctr"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200" b="1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Description </a:t>
                      </a:r>
                      <a:endParaRPr lang="en-US" sz="1200" b="1" i="0" u="none" strike="noStrike" dirty="0">
                        <a:solidFill>
                          <a:srgbClr val="FFFFFF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69" marR="3469" marT="3469" marB="0" anchor="ctr"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5014492"/>
                  </a:ext>
                </a:extLst>
              </a:tr>
              <a:tr h="323509">
                <a:tc>
                  <a:txBody>
                    <a:bodyPr/>
                    <a:lstStyle/>
                    <a:p>
                      <a:pPr lvl="0" algn="l" fontAlgn="ctr">
                        <a:buNone/>
                      </a:pPr>
                      <a:r>
                        <a:rPr lang="en-US" sz="1100" b="0" i="1" u="none" strike="noStrike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Space Data Management</a:t>
                      </a:r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41625" marR="3469" marT="3469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100" u="none" strike="noStrike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Core functionality</a:t>
                      </a:r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69" marR="3469" marT="3469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100" u="none" strike="noStrike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Core functionality</a:t>
                      </a:r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69" marR="3469" marT="3469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u="none" strike="noStrike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Similar</a:t>
                      </a:r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69" marR="3469" marT="3469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100" u="none" strike="noStrike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Manage space assignments, use, and description.</a:t>
                      </a:r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41625" marR="3469" marT="3469" marB="0" anchor="ctr"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4521208"/>
                  </a:ext>
                </a:extLst>
              </a:tr>
              <a:tr h="323509">
                <a:tc>
                  <a:txBody>
                    <a:bodyPr/>
                    <a:lstStyle/>
                    <a:p>
                      <a:pPr lvl="0" algn="l" fontAlgn="ctr">
                        <a:buNone/>
                      </a:pPr>
                      <a:r>
                        <a:rPr lang="en-US" sz="1100" b="0" i="1" u="none" strike="noStrike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Employee Assignments</a:t>
                      </a:r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41625" marR="3469" marT="3469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100" u="none" strike="noStrike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Core functionality</a:t>
                      </a:r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69" marR="3469" marT="3469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100" u="none" strike="noStrike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Core functionality</a:t>
                      </a:r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69" marR="3469" marT="3469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u="none" strike="noStrike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Similar</a:t>
                      </a:r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69" marR="3469" marT="3469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100" u="none" strike="noStrike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Manage assignments and monitor space utilization.</a:t>
                      </a:r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41625" marR="3469" marT="3469" marB="0" anchor="ctr"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43896673"/>
                  </a:ext>
                </a:extLst>
              </a:tr>
              <a:tr h="323509">
                <a:tc>
                  <a:txBody>
                    <a:bodyPr/>
                    <a:lstStyle/>
                    <a:p>
                      <a:pPr lvl="0" algn="l" fontAlgn="ctr">
                        <a:buNone/>
                      </a:pPr>
                      <a:r>
                        <a:rPr lang="en-US" sz="1100" b="0" i="1" u="none" strike="noStrike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Research Data Management</a:t>
                      </a:r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41625" marR="3469" marT="3469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100" u="none" strike="noStrike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Core functionality</a:t>
                      </a:r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69" marR="3469" marT="3469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100" u="none" strike="noStrike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Core functionality</a:t>
                      </a:r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69" marR="3469" marT="3469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u="none" strike="noStrike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Similar</a:t>
                      </a:r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69" marR="3469" marT="3469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10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Manage grant assignments and space functionalization.</a:t>
                      </a:r>
                      <a:endParaRPr lang="en-US" sz="1100" b="0" i="1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41625" marR="3469" marT="3469" marB="0" anchor="ctr"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778157"/>
                  </a:ext>
                </a:extLst>
              </a:tr>
              <a:tr h="323509">
                <a:tc>
                  <a:txBody>
                    <a:bodyPr/>
                    <a:lstStyle/>
                    <a:p>
                      <a:pPr lvl="0" algn="l" fontAlgn="ctr">
                        <a:buNone/>
                      </a:pPr>
                      <a:r>
                        <a:rPr lang="en-US" sz="1100" b="0" i="1" u="none" strike="noStrike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Reporting</a:t>
                      </a:r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41625" marR="3469" marT="3469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100" u="none" strike="noStrike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Custom Tool</a:t>
                      </a:r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69" marR="3469" marT="3469" marB="0" anchor="ctr"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100" u="none" strike="noStrike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Core functionality</a:t>
                      </a:r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69" marR="3469" marT="3469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Improved</a:t>
                      </a:r>
                    </a:p>
                  </a:txBody>
                  <a:tcPr marL="3469" marR="3469" marT="3469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10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Built-in reports and dashboards, </a:t>
                      </a:r>
                      <a:r>
                        <a:rPr lang="en-US" sz="1100" u="none" strike="noStrike" dirty="0" err="1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SpaceWS</a:t>
                      </a:r>
                      <a:r>
                        <a:rPr lang="en-US" sz="110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and EDW integration.</a:t>
                      </a:r>
                      <a:endParaRPr lang="en-US" sz="1100" b="0" i="1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41625" marR="3469" marT="3469" marB="0" anchor="ctr"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08065664"/>
                  </a:ext>
                </a:extLst>
              </a:tr>
              <a:tr h="323509">
                <a:tc>
                  <a:txBody>
                    <a:bodyPr/>
                    <a:lstStyle/>
                    <a:p>
                      <a:pPr lvl="0" algn="l" fontAlgn="ctr">
                        <a:buNone/>
                      </a:pPr>
                      <a:r>
                        <a:rPr lang="en-US" sz="1100" b="0" i="1" u="none" strike="noStrike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PI Percent Tool</a:t>
                      </a:r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41625" marR="3469" marT="3469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100" u="none" strike="noStrike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Custom Tool</a:t>
                      </a:r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69" marR="3469" marT="3469" marB="0" anchor="ctr"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100" u="none" strike="noStrike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Core functionality</a:t>
                      </a:r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69" marR="3469" marT="3469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Improved</a:t>
                      </a:r>
                    </a:p>
                  </a:txBody>
                  <a:tcPr marL="3469" marR="3469" marT="3469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100" u="none" strike="noStrike" kern="1200">
                          <a:solidFill>
                            <a:schemeClr val="dk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Assign and track principal </a:t>
                      </a:r>
                      <a:r>
                        <a:rPr lang="en-US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investigator allocations.</a:t>
                      </a:r>
                    </a:p>
                  </a:txBody>
                  <a:tcPr marL="41625" marR="3469" marT="3469" marB="0" anchor="ctr"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2092077"/>
                  </a:ext>
                </a:extLst>
              </a:tr>
              <a:tr h="323509">
                <a:tc>
                  <a:txBody>
                    <a:bodyPr/>
                    <a:lstStyle/>
                    <a:p>
                      <a:pPr lvl="0" algn="l" fontAlgn="ctr">
                        <a:buNone/>
                      </a:pPr>
                      <a:r>
                        <a:rPr lang="en-US" sz="1100" b="0" i="1" u="none" strike="noStrike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Budget Query Tool</a:t>
                      </a:r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41625" marR="3469" marT="3469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100" u="none" strike="noStrike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Custom Tool</a:t>
                      </a:r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69" marR="3469" marT="3469" marB="0" anchor="ctr"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100" u="none" strike="noStrike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Core functionality</a:t>
                      </a:r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69" marR="3469" marT="3469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Improved</a:t>
                      </a:r>
                    </a:p>
                  </a:txBody>
                  <a:tcPr marL="3469" marR="3469" marT="3469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100" u="none" strike="noStrike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Quickly track and perform grant assignments</a:t>
                      </a:r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41625" marR="3469" marT="3469" marB="0" anchor="ctr"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5480709"/>
                  </a:ext>
                </a:extLst>
              </a:tr>
              <a:tr h="323509">
                <a:tc>
                  <a:txBody>
                    <a:bodyPr/>
                    <a:lstStyle/>
                    <a:p>
                      <a:pPr lvl="0" algn="l" fontAlgn="ctr">
                        <a:buNone/>
                      </a:pPr>
                      <a:r>
                        <a:rPr lang="en-US" sz="1100" b="0" i="1" u="none" strike="noStrike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CAD Integration</a:t>
                      </a:r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41625" marR="3469" marT="3469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100" u="none" strike="noStrike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Custom Tool</a:t>
                      </a:r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69" marR="3469" marT="3469" marB="0" anchor="ctr"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100" u="none" strike="noStrike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Core functionality</a:t>
                      </a:r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69" marR="3469" marT="3469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100" u="none" strike="noStrike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Improved</a:t>
                      </a:r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69" marR="3469" marT="3469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100" u="none" strike="noStrike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AutoCAD integration with live updates.</a:t>
                      </a:r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41625" marR="3469" marT="3469" marB="0" anchor="ctr"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7391967"/>
                  </a:ext>
                </a:extLst>
              </a:tr>
              <a:tr h="323509">
                <a:tc>
                  <a:txBody>
                    <a:bodyPr/>
                    <a:lstStyle/>
                    <a:p>
                      <a:pPr lvl="0" algn="l" fontAlgn="ctr">
                        <a:buNone/>
                      </a:pPr>
                      <a:r>
                        <a:rPr lang="en-US" sz="1100" b="0" i="1" u="none" strike="noStrike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Space Surveys</a:t>
                      </a:r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41625" marR="3469" marT="3469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100" u="none" strike="noStrike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Not available</a:t>
                      </a:r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69" marR="3469" marT="3469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100" u="none" strike="noStrike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Future functionality</a:t>
                      </a:r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69" marR="3469" marT="3469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u="none" strike="noStrike">
                          <a:solidFill>
                            <a:schemeClr val="bg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New</a:t>
                      </a:r>
                      <a:endParaRPr lang="en-US" sz="1100" b="0" i="1" u="none" strike="noStrike">
                        <a:solidFill>
                          <a:schemeClr val="bg1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69" marR="3469" marT="3469" marB="0" anchor="ctr">
                    <a:solidFill>
                      <a:srgbClr val="4B2E8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100" u="none" strike="noStrike">
                          <a:solidFill>
                            <a:schemeClr val="bg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Process to validate/update space and occupancy data.</a:t>
                      </a:r>
                      <a:endParaRPr lang="en-US" sz="1100" b="0" i="1" u="none" strike="noStrike">
                        <a:solidFill>
                          <a:schemeClr val="bg1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41625" marR="3469" marT="3469" marB="0" anchor="ctr"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4B2E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6021604"/>
                  </a:ext>
                </a:extLst>
              </a:tr>
              <a:tr h="323509">
                <a:tc>
                  <a:txBody>
                    <a:bodyPr/>
                    <a:lstStyle/>
                    <a:p>
                      <a:pPr lvl="0" algn="l" fontAlgn="ctr">
                        <a:buNone/>
                      </a:pPr>
                      <a:r>
                        <a:rPr lang="en-US" sz="1100" b="0" i="1" u="none" strike="noStrike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Strategic Planning</a:t>
                      </a:r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41625" marR="3469" marT="3469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100" u="none" strike="noStrike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Not available</a:t>
                      </a:r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69" marR="3469" marT="3469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63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Future functionality</a:t>
                      </a:r>
                      <a:endParaRPr kumimoji="0" lang="en-US" sz="1100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69" marR="3469" marT="3469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u="none" strike="noStrike">
                          <a:solidFill>
                            <a:schemeClr val="bg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New</a:t>
                      </a:r>
                      <a:endParaRPr lang="en-US" sz="1100" b="0" i="1" u="none" strike="noStrike">
                        <a:solidFill>
                          <a:schemeClr val="bg1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69" marR="3469" marT="3469" marB="0" anchor="ctr">
                    <a:solidFill>
                      <a:srgbClr val="4B2E8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100" u="none" strike="noStrike">
                          <a:solidFill>
                            <a:schemeClr val="bg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Module to forecast, model, and optimizing space usage.</a:t>
                      </a:r>
                      <a:endParaRPr lang="en-US" sz="1100" b="0" i="1" u="none" strike="noStrike">
                        <a:solidFill>
                          <a:schemeClr val="bg1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41625" marR="3469" marT="3469" marB="0" anchor="ctr"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4B2E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1127585"/>
                  </a:ext>
                </a:extLst>
              </a:tr>
              <a:tr h="323509">
                <a:tc>
                  <a:txBody>
                    <a:bodyPr/>
                    <a:lstStyle/>
                    <a:p>
                      <a:pPr lvl="0" algn="l" fontAlgn="ctr">
                        <a:buNone/>
                      </a:pPr>
                      <a:r>
                        <a:rPr lang="en-US" sz="1100" b="0" i="1" u="none" strike="noStrike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Move Management</a:t>
                      </a:r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41625" marR="3469" marT="3469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100" u="none" strike="noStrike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Not available</a:t>
                      </a:r>
                      <a:endParaRPr lang="en-US" sz="1100" b="0" i="1" u="none" strike="noStrike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69" marR="3469" marT="3469" marB="0" anchor="ctr"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63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Future functionality</a:t>
                      </a:r>
                      <a:endParaRPr kumimoji="0" lang="en-US" sz="1100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69" marR="3469" marT="3469" marB="0" anchor="ctr"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u="none" strike="noStrike">
                          <a:solidFill>
                            <a:schemeClr val="bg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New</a:t>
                      </a:r>
                      <a:endParaRPr lang="en-US" sz="1100" b="0" i="1" u="none" strike="noStrike">
                        <a:solidFill>
                          <a:schemeClr val="bg1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69" marR="3469" marT="3469" marB="0" anchor="ctr"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2E8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100" u="none" strike="noStrike" dirty="0">
                          <a:solidFill>
                            <a:schemeClr val="bg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Tool for planning and performing space relocations within an organization.</a:t>
                      </a:r>
                      <a:endParaRPr lang="en-US" sz="1100" b="0" i="1" u="none" strike="noStrike" dirty="0">
                        <a:solidFill>
                          <a:schemeClr val="bg1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41625" marR="3469" marT="3469" marB="0" anchor="ctr"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2E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1632616"/>
                  </a:ext>
                </a:extLst>
              </a:tr>
            </a:tbl>
          </a:graphicData>
        </a:graphic>
      </p:graphicFrame>
      <p:graphicFrame>
        <p:nvGraphicFramePr>
          <p:cNvPr id="110" name="think-cell data - do not delete">
            <a:extLst>
              <a:ext uri="{FF2B5EF4-FFF2-40B4-BE49-F238E27FC236}">
                <a16:creationId xmlns:a16="http://schemas.microsoft.com/office/drawing/2014/main" id="{87E5B16C-0F21-62E3-5517-6C1A5C62B10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26511722"/>
              </p:ext>
            </p:extLst>
          </p:nvPr>
        </p:nvGraphicFramePr>
        <p:xfrm>
          <a:off x="1059" y="1059"/>
          <a:ext cx="1059" cy="10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110" name="think-cell data - do not delete">
                        <a:extLst>
                          <a:ext uri="{FF2B5EF4-FFF2-40B4-BE49-F238E27FC236}">
                            <a16:creationId xmlns:a16="http://schemas.microsoft.com/office/drawing/2014/main" id="{87E5B16C-0F21-62E3-5517-6C1A5C62B107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59" y="1059"/>
                        <a:ext cx="1059" cy="10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reeform 3">
            <a:extLst>
              <a:ext uri="{FF2B5EF4-FFF2-40B4-BE49-F238E27FC236}">
                <a16:creationId xmlns:a16="http://schemas.microsoft.com/office/drawing/2014/main" id="{1A6F6119-F0C9-B820-3A82-B317B4D2C44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>
          <a:xfrm>
            <a:off x="10695953" y="310881"/>
            <a:ext cx="1174835" cy="792480"/>
          </a:xfrm>
          <a:custGeom>
            <a:avLst/>
            <a:gdLst/>
            <a:ahLst/>
            <a:cxnLst/>
            <a:rect l="l" t="t" r="r" b="b"/>
            <a:pathLst>
              <a:path w="2244072" h="1513729">
                <a:moveTo>
                  <a:pt x="0" y="0"/>
                </a:moveTo>
                <a:lnTo>
                  <a:pt x="2244072" y="0"/>
                </a:lnTo>
                <a:lnTo>
                  <a:pt x="2244072" y="1513728"/>
                </a:lnTo>
                <a:lnTo>
                  <a:pt x="0" y="1513728"/>
                </a:lnTo>
                <a:lnTo>
                  <a:pt x="0" y="0"/>
                </a:lnTo>
                <a:close/>
              </a:path>
            </a:pathLst>
          </a:custGeom>
          <a:blipFill>
            <a:blip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609630">
              <a:defRPr/>
            </a:pPr>
            <a:endParaRPr lang="en-US" sz="120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19331886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A091EA2-E366-BCB5-FE26-56B4754EC05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TextBox 34">
            <a:extLst>
              <a:ext uri="{FF2B5EF4-FFF2-40B4-BE49-F238E27FC236}">
                <a16:creationId xmlns:a16="http://schemas.microsoft.com/office/drawing/2014/main" id="{E4BECD21-F96A-06B5-8D13-2B32D86EFA5A}"/>
              </a:ext>
            </a:extLst>
          </p:cNvPr>
          <p:cNvSpPr txBox="1"/>
          <p:nvPr/>
        </p:nvSpPr>
        <p:spPr>
          <a:xfrm>
            <a:off x="829601" y="382864"/>
            <a:ext cx="8546204" cy="49064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spcBef>
                <a:spcPts val="1000"/>
              </a:spcBef>
              <a:spcAft>
                <a:spcPts val="600"/>
              </a:spcAft>
            </a:pPr>
            <a:r>
              <a:rPr lang="en-US" sz="3200" dirty="0">
                <a:solidFill>
                  <a:srgbClr val="4B2E8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What’s New and Why You’ll Care</a:t>
            </a:r>
          </a:p>
        </p:txBody>
      </p:sp>
      <p:sp>
        <p:nvSpPr>
          <p:cNvPr id="4" name="TextBox 60">
            <a:extLst>
              <a:ext uri="{FF2B5EF4-FFF2-40B4-BE49-F238E27FC236}">
                <a16:creationId xmlns:a16="http://schemas.microsoft.com/office/drawing/2014/main" id="{B0703ED7-3F18-5DEB-6D39-6208CE11FCF7}"/>
              </a:ext>
            </a:extLst>
          </p:cNvPr>
          <p:cNvSpPr txBox="1"/>
          <p:nvPr/>
        </p:nvSpPr>
        <p:spPr>
          <a:xfrm>
            <a:off x="829056" y="999745"/>
            <a:ext cx="11348545" cy="24622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srgbClr val="32006E"/>
                </a:solidFill>
                <a:latin typeface="Uni Sans"/>
              </a:rPr>
              <a:t>Floorplans Enhancements – Clearer, more detailed visuals for space allocation and utilization.</a:t>
            </a:r>
          </a:p>
        </p:txBody>
      </p:sp>
      <p:graphicFrame>
        <p:nvGraphicFramePr>
          <p:cNvPr id="110" name="think-cell data - do not delete">
            <a:extLst>
              <a:ext uri="{FF2B5EF4-FFF2-40B4-BE49-F238E27FC236}">
                <a16:creationId xmlns:a16="http://schemas.microsoft.com/office/drawing/2014/main" id="{56CA34F0-5692-D0EF-E055-D1D4EE5124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4044960"/>
              </p:ext>
            </p:extLst>
          </p:nvPr>
        </p:nvGraphicFramePr>
        <p:xfrm>
          <a:off x="1059" y="1059"/>
          <a:ext cx="1059" cy="10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110" name="think-cell data - do not delete">
                        <a:extLst>
                          <a:ext uri="{FF2B5EF4-FFF2-40B4-BE49-F238E27FC236}">
                            <a16:creationId xmlns:a16="http://schemas.microsoft.com/office/drawing/2014/main" id="{56CA34F0-5692-D0EF-E055-D1D4EE512466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59" y="1059"/>
                        <a:ext cx="1059" cy="10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reeform 3">
            <a:extLst>
              <a:ext uri="{FF2B5EF4-FFF2-40B4-BE49-F238E27FC236}">
                <a16:creationId xmlns:a16="http://schemas.microsoft.com/office/drawing/2014/main" id="{0260B4BF-5BD7-477E-2057-A47B437FAE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>
          <a:xfrm>
            <a:off x="10695953" y="310881"/>
            <a:ext cx="1174835" cy="792480"/>
          </a:xfrm>
          <a:custGeom>
            <a:avLst/>
            <a:gdLst/>
            <a:ahLst/>
            <a:cxnLst/>
            <a:rect l="l" t="t" r="r" b="b"/>
            <a:pathLst>
              <a:path w="2244072" h="1513729">
                <a:moveTo>
                  <a:pt x="0" y="0"/>
                </a:moveTo>
                <a:lnTo>
                  <a:pt x="2244072" y="0"/>
                </a:lnTo>
                <a:lnTo>
                  <a:pt x="2244072" y="1513728"/>
                </a:lnTo>
                <a:lnTo>
                  <a:pt x="0" y="1513728"/>
                </a:lnTo>
                <a:lnTo>
                  <a:pt x="0" y="0"/>
                </a:lnTo>
                <a:close/>
              </a:path>
            </a:pathLst>
          </a:custGeom>
          <a:blipFill>
            <a:blip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609630">
              <a:defRPr/>
            </a:pPr>
            <a:endParaRPr lang="en-US" sz="1200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9" name="Picture 8" descr="Color‑coded floor plan showing labeled rooms along a central hallway, with a legend below that lists department codes and their associated departments.">
            <a:extLst>
              <a:ext uri="{FF2B5EF4-FFF2-40B4-BE49-F238E27FC236}">
                <a16:creationId xmlns:a16="http://schemas.microsoft.com/office/drawing/2014/main" id="{C27CE139-B308-BF4F-E202-D932C76FE50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503328" y="3036614"/>
            <a:ext cx="5081860" cy="3276855"/>
          </a:xfrm>
          <a:prstGeom prst="rect">
            <a:avLst/>
          </a:prstGeom>
        </p:spPr>
      </p:pic>
      <p:pic>
        <p:nvPicPr>
          <p:cNvPr id="15" name="Picture 14" descr="Simple floor plan with labeled rooms along a central hallway, stairwells at both ends, and a label above reading ‘Exterior Gross Area 2111.">
            <a:extLst>
              <a:ext uri="{FF2B5EF4-FFF2-40B4-BE49-F238E27FC236}">
                <a16:creationId xmlns:a16="http://schemas.microsoft.com/office/drawing/2014/main" id="{25F0BFF5-0D1A-30A0-ECA2-24B5D21559A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29056" y="1622979"/>
            <a:ext cx="5094043" cy="2827269"/>
          </a:xfrm>
          <a:prstGeom prst="rect">
            <a:avLst/>
          </a:prstGeom>
        </p:spPr>
      </p:pic>
      <p:sp>
        <p:nvSpPr>
          <p:cNvPr id="16" name="Arrow: Bent 15">
            <a:extLst>
              <a:ext uri="{FF2B5EF4-FFF2-40B4-BE49-F238E27FC236}">
                <a16:creationId xmlns:a16="http://schemas.microsoft.com/office/drawing/2014/main" id="{037C2BFA-8B82-D022-9471-4F907B0F305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5400000">
            <a:off x="6526190" y="480448"/>
            <a:ext cx="1413636" cy="3698699"/>
          </a:xfrm>
          <a:prstGeom prst="bentArrow">
            <a:avLst/>
          </a:prstGeom>
          <a:solidFill>
            <a:srgbClr val="32006E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7" name="Text Placeholder 17">
            <a:extLst>
              <a:ext uri="{FF2B5EF4-FFF2-40B4-BE49-F238E27FC236}">
                <a16:creationId xmlns:a16="http://schemas.microsoft.com/office/drawing/2014/main" id="{1338EF70-F15F-4EA9-F3CD-5D6DFC85F2C6}"/>
              </a:ext>
            </a:extLst>
          </p:cNvPr>
          <p:cNvSpPr txBox="1">
            <a:spLocks/>
          </p:cNvSpPr>
          <p:nvPr/>
        </p:nvSpPr>
        <p:spPr>
          <a:xfrm>
            <a:off x="880214" y="4675041"/>
            <a:ext cx="5746618" cy="210754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 algn="l">
              <a:spcBef>
                <a:spcPts val="10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4B2E8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irect Integration with AutoCAD</a:t>
            </a:r>
          </a:p>
          <a:p>
            <a:pPr marL="285750" indent="-285750" algn="l">
              <a:spcBef>
                <a:spcPts val="10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4B2E8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xpanded Color Palette</a:t>
            </a:r>
          </a:p>
          <a:p>
            <a:pPr marL="285750" indent="-285750" algn="l">
              <a:spcBef>
                <a:spcPts val="10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4B2E8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ustom Views (Primary Use, Cost Center Hierarchy, Occupancy, Furniture)</a:t>
            </a:r>
          </a:p>
        </p:txBody>
      </p:sp>
    </p:spTree>
    <p:extLst>
      <p:ext uri="{BB962C8B-B14F-4D97-AF65-F5344CB8AC3E}">
        <p14:creationId xmlns:p14="http://schemas.microsoft.com/office/powerpoint/2010/main" val="31834549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9402674-C3EC-69FE-4DCB-A365D3513A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TextBox 34">
            <a:extLst>
              <a:ext uri="{FF2B5EF4-FFF2-40B4-BE49-F238E27FC236}">
                <a16:creationId xmlns:a16="http://schemas.microsoft.com/office/drawing/2014/main" id="{D2531B44-5987-99AF-5A83-F77F127A951D}"/>
              </a:ext>
            </a:extLst>
          </p:cNvPr>
          <p:cNvSpPr txBox="1"/>
          <p:nvPr/>
        </p:nvSpPr>
        <p:spPr>
          <a:xfrm>
            <a:off x="829601" y="382864"/>
            <a:ext cx="8546204" cy="49064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spcBef>
                <a:spcPts val="1000"/>
              </a:spcBef>
              <a:spcAft>
                <a:spcPts val="600"/>
              </a:spcAft>
            </a:pPr>
            <a:r>
              <a:rPr lang="en-US" sz="3200" dirty="0">
                <a:solidFill>
                  <a:srgbClr val="4B2E8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What’s New and Why You’ll Care</a:t>
            </a:r>
          </a:p>
        </p:txBody>
      </p:sp>
      <p:graphicFrame>
        <p:nvGraphicFramePr>
          <p:cNvPr id="110" name="think-cell data - do not delete">
            <a:extLst>
              <a:ext uri="{FF2B5EF4-FFF2-40B4-BE49-F238E27FC236}">
                <a16:creationId xmlns:a16="http://schemas.microsoft.com/office/drawing/2014/main" id="{30DFED07-0E65-54DE-1099-621139DF30D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8118725"/>
              </p:ext>
            </p:extLst>
          </p:nvPr>
        </p:nvGraphicFramePr>
        <p:xfrm>
          <a:off x="1059" y="1059"/>
          <a:ext cx="1059" cy="10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110" name="think-cell data - do not delete">
                        <a:extLst>
                          <a:ext uri="{FF2B5EF4-FFF2-40B4-BE49-F238E27FC236}">
                            <a16:creationId xmlns:a16="http://schemas.microsoft.com/office/drawing/2014/main" id="{30DFED07-0E65-54DE-1099-621139DF30DB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59" y="1059"/>
                        <a:ext cx="1059" cy="10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reeform 3">
            <a:extLst>
              <a:ext uri="{FF2B5EF4-FFF2-40B4-BE49-F238E27FC236}">
                <a16:creationId xmlns:a16="http://schemas.microsoft.com/office/drawing/2014/main" id="{BE63A69F-4136-7078-DBCD-0E36174959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>
          <a:xfrm>
            <a:off x="10695953" y="310881"/>
            <a:ext cx="1174835" cy="792480"/>
          </a:xfrm>
          <a:custGeom>
            <a:avLst/>
            <a:gdLst/>
            <a:ahLst/>
            <a:cxnLst/>
            <a:rect l="l" t="t" r="r" b="b"/>
            <a:pathLst>
              <a:path w="2244072" h="1513729">
                <a:moveTo>
                  <a:pt x="0" y="0"/>
                </a:moveTo>
                <a:lnTo>
                  <a:pt x="2244072" y="0"/>
                </a:lnTo>
                <a:lnTo>
                  <a:pt x="2244072" y="1513728"/>
                </a:lnTo>
                <a:lnTo>
                  <a:pt x="0" y="1513728"/>
                </a:lnTo>
                <a:lnTo>
                  <a:pt x="0" y="0"/>
                </a:lnTo>
                <a:close/>
              </a:path>
            </a:pathLst>
          </a:custGeom>
          <a:blipFill>
            <a:blip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609630">
              <a:defRPr/>
            </a:pPr>
            <a:endParaRPr lang="en-US" sz="120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" name="TextBox 60">
            <a:extLst>
              <a:ext uri="{FF2B5EF4-FFF2-40B4-BE49-F238E27FC236}">
                <a16:creationId xmlns:a16="http://schemas.microsoft.com/office/drawing/2014/main" id="{B31F7B95-DF04-902F-D344-FE447A204794}"/>
              </a:ext>
            </a:extLst>
          </p:cNvPr>
          <p:cNvSpPr txBox="1"/>
          <p:nvPr/>
        </p:nvSpPr>
        <p:spPr>
          <a:xfrm>
            <a:off x="829056" y="999745"/>
            <a:ext cx="11348545" cy="24622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srgbClr val="32006E"/>
                </a:solidFill>
                <a:latin typeface="Uni Sans"/>
              </a:rPr>
              <a:t>Data Views – A simpler, smarter way to see and edit your data.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32006E"/>
              </a:solidFill>
              <a:effectLst/>
              <a:uLnTx/>
              <a:uFillTx/>
              <a:latin typeface="Uni Sans"/>
              <a:ea typeface="+mn-ea"/>
              <a:cs typeface="+mn-cs"/>
            </a:endParaRPr>
          </a:p>
        </p:txBody>
      </p:sp>
      <p:pic>
        <p:nvPicPr>
          <p:cNvPr id="6" name="Picture 5" descr="Screenshot of a space management system showing a table of rooms at the top and detailed information for the selected room at the bottom. Three callout boxes labeled 1, 2, and 3 highlight different interface sections.">
            <a:extLst>
              <a:ext uri="{FF2B5EF4-FFF2-40B4-BE49-F238E27FC236}">
                <a16:creationId xmlns:a16="http://schemas.microsoft.com/office/drawing/2014/main" id="{56621982-333A-CE0D-CADF-243186F6EDE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81182" y="1467728"/>
            <a:ext cx="10229636" cy="4904469"/>
          </a:xfrm>
          <a:prstGeom prst="rect">
            <a:avLst/>
          </a:prstGeom>
        </p:spPr>
      </p:pic>
      <p:sp>
        <p:nvSpPr>
          <p:cNvPr id="8" name="Speech Bubble: Rectangle 7">
            <a:extLst>
              <a:ext uri="{FF2B5EF4-FFF2-40B4-BE49-F238E27FC236}">
                <a16:creationId xmlns:a16="http://schemas.microsoft.com/office/drawing/2014/main" id="{E14B0EE1-7C03-8871-2ECE-FDE0950F18E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2483859" y="1500383"/>
            <a:ext cx="462337" cy="240496"/>
          </a:xfrm>
          <a:prstGeom prst="wedgeRectCallout">
            <a:avLst>
              <a:gd name="adj1" fmla="val -63055"/>
              <a:gd name="adj2" fmla="val -27213"/>
            </a:avLst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rgbClr val="32006E"/>
                </a:solidFill>
              </a:rPr>
              <a:t>1</a:t>
            </a:r>
          </a:p>
        </p:txBody>
      </p:sp>
      <p:sp>
        <p:nvSpPr>
          <p:cNvPr id="9" name="Speech Bubble: Rectangle 8">
            <a:extLst>
              <a:ext uri="{FF2B5EF4-FFF2-40B4-BE49-F238E27FC236}">
                <a16:creationId xmlns:a16="http://schemas.microsoft.com/office/drawing/2014/main" id="{A0E6D521-5C15-6240-5834-230C79C9CD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9476972" y="1372200"/>
            <a:ext cx="462337" cy="240496"/>
          </a:xfrm>
          <a:prstGeom prst="wedgeRectCallout">
            <a:avLst>
              <a:gd name="adj1" fmla="val -20833"/>
              <a:gd name="adj2" fmla="val 66773"/>
            </a:avLst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rgbClr val="32006E"/>
                </a:solidFill>
              </a:rPr>
              <a:t>2</a:t>
            </a:r>
          </a:p>
        </p:txBody>
      </p:sp>
      <p:sp>
        <p:nvSpPr>
          <p:cNvPr id="10" name="Speech Bubble: Rectangle 9">
            <a:extLst>
              <a:ext uri="{FF2B5EF4-FFF2-40B4-BE49-F238E27FC236}">
                <a16:creationId xmlns:a16="http://schemas.microsoft.com/office/drawing/2014/main" id="{3FC8D01A-E8C4-F957-8D07-AA30C264E5E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2946196" y="4417648"/>
            <a:ext cx="462337" cy="240496"/>
          </a:xfrm>
          <a:prstGeom prst="wedgeRectCallout">
            <a:avLst>
              <a:gd name="adj1" fmla="val -65836"/>
              <a:gd name="adj2" fmla="val -24581"/>
            </a:avLst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rgbClr val="32006E"/>
                </a:solidFill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21955602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FA8AD17-ECF1-5AE2-6524-7F87D4AD9C4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0" name="think-cell data - do not delete">
            <a:extLst>
              <a:ext uri="{FF2B5EF4-FFF2-40B4-BE49-F238E27FC236}">
                <a16:creationId xmlns:a16="http://schemas.microsoft.com/office/drawing/2014/main" id="{95DD6BB5-6967-7BAB-7F60-B3F92027DC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12457625"/>
              </p:ext>
            </p:extLst>
          </p:nvPr>
        </p:nvGraphicFramePr>
        <p:xfrm>
          <a:off x="1059" y="1059"/>
          <a:ext cx="1059" cy="10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110" name="think-cell data - do not delete">
                        <a:extLst>
                          <a:ext uri="{FF2B5EF4-FFF2-40B4-BE49-F238E27FC236}">
                            <a16:creationId xmlns:a16="http://schemas.microsoft.com/office/drawing/2014/main" id="{95DD6BB5-6967-7BAB-7F60-B3F92027DC52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59" y="1059"/>
                        <a:ext cx="1059" cy="10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reeform 3">
            <a:extLst>
              <a:ext uri="{FF2B5EF4-FFF2-40B4-BE49-F238E27FC236}">
                <a16:creationId xmlns:a16="http://schemas.microsoft.com/office/drawing/2014/main" id="{1B7D98A4-E01D-9C55-CB25-B624B2C1B4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>
          <a:xfrm>
            <a:off x="10695953" y="310881"/>
            <a:ext cx="1174835" cy="792480"/>
          </a:xfrm>
          <a:custGeom>
            <a:avLst/>
            <a:gdLst/>
            <a:ahLst/>
            <a:cxnLst/>
            <a:rect l="l" t="t" r="r" b="b"/>
            <a:pathLst>
              <a:path w="2244072" h="1513729">
                <a:moveTo>
                  <a:pt x="0" y="0"/>
                </a:moveTo>
                <a:lnTo>
                  <a:pt x="2244072" y="0"/>
                </a:lnTo>
                <a:lnTo>
                  <a:pt x="2244072" y="1513728"/>
                </a:lnTo>
                <a:lnTo>
                  <a:pt x="0" y="1513728"/>
                </a:lnTo>
                <a:lnTo>
                  <a:pt x="0" y="0"/>
                </a:lnTo>
                <a:close/>
              </a:path>
            </a:pathLst>
          </a:custGeom>
          <a:blipFill>
            <a:blip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609630">
              <a:defRPr/>
            </a:pPr>
            <a:endParaRPr lang="en-US" sz="120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3" name="TextBox 34">
            <a:extLst>
              <a:ext uri="{FF2B5EF4-FFF2-40B4-BE49-F238E27FC236}">
                <a16:creationId xmlns:a16="http://schemas.microsoft.com/office/drawing/2014/main" id="{5FF1E997-0DD8-85FE-FB53-4869CF3E99CD}"/>
              </a:ext>
            </a:extLst>
          </p:cNvPr>
          <p:cNvSpPr txBox="1"/>
          <p:nvPr/>
        </p:nvSpPr>
        <p:spPr>
          <a:xfrm>
            <a:off x="829601" y="382864"/>
            <a:ext cx="8546204" cy="49064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spcBef>
                <a:spcPts val="1000"/>
              </a:spcBef>
              <a:spcAft>
                <a:spcPts val="600"/>
              </a:spcAft>
            </a:pPr>
            <a:r>
              <a:rPr lang="en-US" sz="3200" dirty="0">
                <a:solidFill>
                  <a:srgbClr val="4B2E8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What’s New and Why You’ll Care</a:t>
            </a:r>
          </a:p>
        </p:txBody>
      </p:sp>
      <p:sp>
        <p:nvSpPr>
          <p:cNvPr id="4" name="TextBox 60">
            <a:extLst>
              <a:ext uri="{FF2B5EF4-FFF2-40B4-BE49-F238E27FC236}">
                <a16:creationId xmlns:a16="http://schemas.microsoft.com/office/drawing/2014/main" id="{23F02167-8E80-B757-D112-EBAB309CFE14}"/>
              </a:ext>
            </a:extLst>
          </p:cNvPr>
          <p:cNvSpPr txBox="1"/>
          <p:nvPr/>
        </p:nvSpPr>
        <p:spPr>
          <a:xfrm>
            <a:off x="829056" y="999745"/>
            <a:ext cx="11348545" cy="24622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srgbClr val="32006E"/>
                </a:solidFill>
                <a:latin typeface="Uni Sans"/>
              </a:rPr>
              <a:t>Consolidated Research Tracking – Everything you need, all in one spot.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32006E"/>
              </a:solidFill>
              <a:effectLst/>
              <a:uLnTx/>
              <a:uFillTx/>
              <a:latin typeface="Uni Sans"/>
              <a:ea typeface="+mn-ea"/>
              <a:cs typeface="+mn-cs"/>
            </a:endParaRPr>
          </a:p>
        </p:txBody>
      </p:sp>
      <p:pic>
        <p:nvPicPr>
          <p:cNvPr id="9" name="Picture 8" descr="Screenshot of a shared‑space management system showing a table of room records at the top and allocation details below. Highlighted callout labels mark sections 1, 2, 3, and 4.">
            <a:extLst>
              <a:ext uri="{FF2B5EF4-FFF2-40B4-BE49-F238E27FC236}">
                <a16:creationId xmlns:a16="http://schemas.microsoft.com/office/drawing/2014/main" id="{F0202139-B2F9-12B0-2653-81671CB3348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29056" y="1363351"/>
            <a:ext cx="10899059" cy="5183768"/>
          </a:xfrm>
          <a:prstGeom prst="rect">
            <a:avLst/>
          </a:prstGeom>
        </p:spPr>
      </p:pic>
      <p:sp>
        <p:nvSpPr>
          <p:cNvPr id="13" name="Speech Bubble: Rectangle 12">
            <a:extLst>
              <a:ext uri="{FF2B5EF4-FFF2-40B4-BE49-F238E27FC236}">
                <a16:creationId xmlns:a16="http://schemas.microsoft.com/office/drawing/2014/main" id="{1F290B69-CE8C-AE50-F41C-07A1F4A8A50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0035365" y="1243103"/>
            <a:ext cx="462337" cy="240496"/>
          </a:xfrm>
          <a:prstGeom prst="wedgeRectCallout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rgbClr val="32006E"/>
                </a:solidFill>
              </a:rPr>
              <a:t>2</a:t>
            </a:r>
          </a:p>
        </p:txBody>
      </p:sp>
      <p:sp>
        <p:nvSpPr>
          <p:cNvPr id="14" name="Speech Bubble: Rectangle 13">
            <a:extLst>
              <a:ext uri="{FF2B5EF4-FFF2-40B4-BE49-F238E27FC236}">
                <a16:creationId xmlns:a16="http://schemas.microsoft.com/office/drawing/2014/main" id="{53EECA69-B604-A203-AAC2-B450E43D78C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1668030" y="2854434"/>
            <a:ext cx="462337" cy="240496"/>
          </a:xfrm>
          <a:prstGeom prst="wedgeRectCallout">
            <a:avLst>
              <a:gd name="adj1" fmla="val -60833"/>
              <a:gd name="adj2" fmla="val -14397"/>
            </a:avLst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rgbClr val="32006E"/>
                </a:solidFill>
              </a:rPr>
              <a:t>3</a:t>
            </a:r>
          </a:p>
        </p:txBody>
      </p:sp>
      <p:sp>
        <p:nvSpPr>
          <p:cNvPr id="16" name="Speech Bubble: Rectangle 15">
            <a:extLst>
              <a:ext uri="{FF2B5EF4-FFF2-40B4-BE49-F238E27FC236}">
                <a16:creationId xmlns:a16="http://schemas.microsoft.com/office/drawing/2014/main" id="{70873968-D439-F603-E727-23D5EB7EEDE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0148379" y="4691796"/>
            <a:ext cx="462337" cy="240496"/>
          </a:xfrm>
          <a:prstGeom prst="wedgeRectCallout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rgbClr val="32006E"/>
                </a:solidFill>
              </a:rPr>
              <a:t>4</a:t>
            </a:r>
          </a:p>
        </p:txBody>
      </p:sp>
      <p:sp>
        <p:nvSpPr>
          <p:cNvPr id="17" name="Speech Bubble: Rectangle 16">
            <a:extLst>
              <a:ext uri="{FF2B5EF4-FFF2-40B4-BE49-F238E27FC236}">
                <a16:creationId xmlns:a16="http://schemas.microsoft.com/office/drawing/2014/main" id="{7D8AFD3C-05B5-918E-318A-5F150567F4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2934210" y="1372200"/>
            <a:ext cx="462337" cy="240496"/>
          </a:xfrm>
          <a:prstGeom prst="wedgeRectCallout">
            <a:avLst>
              <a:gd name="adj1" fmla="val -60833"/>
              <a:gd name="adj2" fmla="val -22941"/>
            </a:avLst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rgbClr val="32006E"/>
                </a:solidFill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5387277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 animBg="1"/>
      <p:bldP spid="16" grpId="0" animBg="1"/>
      <p:bldP spid="17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F9D2C54-5C64-666F-B6F7-0493949F90F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0" name="think-cell data - do not delete">
            <a:extLst>
              <a:ext uri="{FF2B5EF4-FFF2-40B4-BE49-F238E27FC236}">
                <a16:creationId xmlns:a16="http://schemas.microsoft.com/office/drawing/2014/main" id="{642CF82D-7C11-3343-4C28-9DB9DBC0DAD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9283278"/>
              </p:ext>
            </p:extLst>
          </p:nvPr>
        </p:nvGraphicFramePr>
        <p:xfrm>
          <a:off x="1059" y="1059"/>
          <a:ext cx="1059" cy="10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110" name="think-cell data - do not delete">
                        <a:extLst>
                          <a:ext uri="{FF2B5EF4-FFF2-40B4-BE49-F238E27FC236}">
                            <a16:creationId xmlns:a16="http://schemas.microsoft.com/office/drawing/2014/main" id="{642CF82D-7C11-3343-4C28-9DB9DBC0DAD3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59" y="1059"/>
                        <a:ext cx="1059" cy="10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reeform 3">
            <a:extLst>
              <a:ext uri="{FF2B5EF4-FFF2-40B4-BE49-F238E27FC236}">
                <a16:creationId xmlns:a16="http://schemas.microsoft.com/office/drawing/2014/main" id="{F1E632B4-AFFC-1EAD-0BD3-4341FE5D97E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>
          <a:xfrm>
            <a:off x="10695953" y="310881"/>
            <a:ext cx="1174835" cy="792480"/>
          </a:xfrm>
          <a:custGeom>
            <a:avLst/>
            <a:gdLst/>
            <a:ahLst/>
            <a:cxnLst/>
            <a:rect l="l" t="t" r="r" b="b"/>
            <a:pathLst>
              <a:path w="2244072" h="1513729">
                <a:moveTo>
                  <a:pt x="0" y="0"/>
                </a:moveTo>
                <a:lnTo>
                  <a:pt x="2244072" y="0"/>
                </a:lnTo>
                <a:lnTo>
                  <a:pt x="2244072" y="1513728"/>
                </a:lnTo>
                <a:lnTo>
                  <a:pt x="0" y="1513728"/>
                </a:lnTo>
                <a:lnTo>
                  <a:pt x="0" y="0"/>
                </a:lnTo>
                <a:close/>
              </a:path>
            </a:pathLst>
          </a:custGeom>
          <a:blipFill>
            <a:blip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609630">
              <a:defRPr/>
            </a:pPr>
            <a:endParaRPr lang="en-US" sz="120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3" name="TextBox 34">
            <a:extLst>
              <a:ext uri="{FF2B5EF4-FFF2-40B4-BE49-F238E27FC236}">
                <a16:creationId xmlns:a16="http://schemas.microsoft.com/office/drawing/2014/main" id="{2CB79750-D0E7-9D9E-230E-05A1C5009AE4}"/>
              </a:ext>
            </a:extLst>
          </p:cNvPr>
          <p:cNvSpPr txBox="1"/>
          <p:nvPr/>
        </p:nvSpPr>
        <p:spPr>
          <a:xfrm>
            <a:off x="829601" y="382864"/>
            <a:ext cx="8546204" cy="49064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spcBef>
                <a:spcPts val="1000"/>
              </a:spcBef>
              <a:spcAft>
                <a:spcPts val="600"/>
              </a:spcAft>
            </a:pPr>
            <a:r>
              <a:rPr lang="en-US" sz="3200" dirty="0">
                <a:solidFill>
                  <a:srgbClr val="4B2E8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What’s New and Why You’ll Care</a:t>
            </a:r>
          </a:p>
        </p:txBody>
      </p:sp>
      <p:sp>
        <p:nvSpPr>
          <p:cNvPr id="4" name="TextBox 60">
            <a:extLst>
              <a:ext uri="{FF2B5EF4-FFF2-40B4-BE49-F238E27FC236}">
                <a16:creationId xmlns:a16="http://schemas.microsoft.com/office/drawing/2014/main" id="{083527DE-B87C-42F4-BB25-4A371B1A6081}"/>
              </a:ext>
            </a:extLst>
          </p:cNvPr>
          <p:cNvSpPr txBox="1"/>
          <p:nvPr/>
        </p:nvSpPr>
        <p:spPr>
          <a:xfrm>
            <a:off x="829056" y="999745"/>
            <a:ext cx="11348545" cy="24622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2006E"/>
                </a:solidFill>
                <a:effectLst/>
                <a:uLnTx/>
                <a:uFillTx/>
                <a:latin typeface="Uni Sans"/>
                <a:ea typeface="+mn-ea"/>
                <a:cs typeface="+mn-cs"/>
              </a:rPr>
              <a:t>Integrated Reporting – Reports built into the application for easy access.</a:t>
            </a:r>
          </a:p>
        </p:txBody>
      </p:sp>
      <p:pic>
        <p:nvPicPr>
          <p:cNvPr id="10" name="Picture 9" descr="Screenshot of a facility information report interface with a left navigation menu, a toolbar at the top, filter options on the left, and a facility data table on the right. Four callout labels mark sections 1, 2, 3, and 4.">
            <a:extLst>
              <a:ext uri="{FF2B5EF4-FFF2-40B4-BE49-F238E27FC236}">
                <a16:creationId xmlns:a16="http://schemas.microsoft.com/office/drawing/2014/main" id="{D32B72AD-F08B-688C-9F29-190CB1157A8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29056" y="1372200"/>
            <a:ext cx="10899059" cy="5372616"/>
          </a:xfrm>
          <a:prstGeom prst="rect">
            <a:avLst/>
          </a:prstGeom>
        </p:spPr>
      </p:pic>
      <p:sp>
        <p:nvSpPr>
          <p:cNvPr id="8" name="Speech Bubble: Rectangle 7">
            <a:extLst>
              <a:ext uri="{FF2B5EF4-FFF2-40B4-BE49-F238E27FC236}">
                <a16:creationId xmlns:a16="http://schemas.microsoft.com/office/drawing/2014/main" id="{4FD33974-1B58-399F-C1F3-3A10ECC5011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0821033" y="1452653"/>
            <a:ext cx="462337" cy="240496"/>
          </a:xfrm>
          <a:prstGeom prst="wedgeRectCallout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rgbClr val="32006E"/>
                </a:solidFill>
              </a:rPr>
              <a:t>2</a:t>
            </a:r>
          </a:p>
        </p:txBody>
      </p:sp>
      <p:sp>
        <p:nvSpPr>
          <p:cNvPr id="9" name="Speech Bubble: Rectangle 8">
            <a:extLst>
              <a:ext uri="{FF2B5EF4-FFF2-40B4-BE49-F238E27FC236}">
                <a16:creationId xmlns:a16="http://schemas.microsoft.com/office/drawing/2014/main" id="{D6741FCE-F568-8A35-CE53-918CB6B691F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429030" y="2759184"/>
            <a:ext cx="462337" cy="240496"/>
          </a:xfrm>
          <a:prstGeom prst="wedgeRectCallout">
            <a:avLst>
              <a:gd name="adj1" fmla="val -60833"/>
              <a:gd name="adj2" fmla="val -14397"/>
            </a:avLst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rgbClr val="32006E"/>
                </a:solidFill>
              </a:rPr>
              <a:t>3</a:t>
            </a:r>
          </a:p>
        </p:txBody>
      </p:sp>
      <p:sp>
        <p:nvSpPr>
          <p:cNvPr id="11" name="Speech Bubble: Rectangle 10">
            <a:extLst>
              <a:ext uri="{FF2B5EF4-FFF2-40B4-BE49-F238E27FC236}">
                <a16:creationId xmlns:a16="http://schemas.microsoft.com/office/drawing/2014/main" id="{DEE48F50-2707-7CAE-769F-4A6842FFB0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088698" y="1693149"/>
            <a:ext cx="462337" cy="240496"/>
          </a:xfrm>
          <a:prstGeom prst="wedgeRectCallout">
            <a:avLst>
              <a:gd name="adj1" fmla="val -59290"/>
              <a:gd name="adj2" fmla="val 22894"/>
            </a:avLst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rgbClr val="32006E"/>
                </a:solidFill>
              </a:rPr>
              <a:t>4</a:t>
            </a:r>
          </a:p>
        </p:txBody>
      </p:sp>
      <p:sp>
        <p:nvSpPr>
          <p:cNvPr id="12" name="Speech Bubble: Rectangle 11">
            <a:extLst>
              <a:ext uri="{FF2B5EF4-FFF2-40B4-BE49-F238E27FC236}">
                <a16:creationId xmlns:a16="http://schemas.microsoft.com/office/drawing/2014/main" id="{C96A654A-0445-4F80-B5B5-5907037853D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674529" y="1769223"/>
            <a:ext cx="462337" cy="240496"/>
          </a:xfrm>
          <a:prstGeom prst="wedgeRectCallout">
            <a:avLst>
              <a:gd name="adj1" fmla="val -62893"/>
              <a:gd name="adj2" fmla="val 20625"/>
            </a:avLst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rgbClr val="32006E"/>
                </a:solidFill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6148705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1" grpId="0" animBg="1"/>
      <p:bldP spid="12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E0A6677-A079-09E4-2471-F45D18A2C89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2">
            <a:extLst>
              <a:ext uri="{FF2B5EF4-FFF2-40B4-BE49-F238E27FC236}">
                <a16:creationId xmlns:a16="http://schemas.microsoft.com/office/drawing/2014/main" id="{C3CFA59A-9D99-361C-E955-B8A54ADB56BB}"/>
              </a:ext>
            </a:extLst>
          </p:cNvPr>
          <p:cNvSpPr txBox="1"/>
          <p:nvPr/>
        </p:nvSpPr>
        <p:spPr>
          <a:xfrm>
            <a:off x="758595" y="380923"/>
            <a:ext cx="9466419" cy="49244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spcBef>
                <a:spcPts val="1000"/>
              </a:spcBef>
              <a:spcAft>
                <a:spcPts val="600"/>
              </a:spcAft>
            </a:pPr>
            <a:r>
              <a:rPr lang="en-US" sz="3200" dirty="0">
                <a:solidFill>
                  <a:srgbClr val="4B2E8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raining Resources &amp; Access Requirements</a:t>
            </a:r>
          </a:p>
        </p:txBody>
      </p:sp>
      <p:sp>
        <p:nvSpPr>
          <p:cNvPr id="2" name="Freeform 3">
            <a:extLst>
              <a:ext uri="{FF2B5EF4-FFF2-40B4-BE49-F238E27FC236}">
                <a16:creationId xmlns:a16="http://schemas.microsoft.com/office/drawing/2014/main" id="{3C39EB23-6875-A9F7-4583-1BEAEEA1427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>
          <a:xfrm>
            <a:off x="10695953" y="310881"/>
            <a:ext cx="1174835" cy="792480"/>
          </a:xfrm>
          <a:custGeom>
            <a:avLst/>
            <a:gdLst/>
            <a:ahLst/>
            <a:cxnLst/>
            <a:rect l="l" t="t" r="r" b="b"/>
            <a:pathLst>
              <a:path w="2244072" h="1513729">
                <a:moveTo>
                  <a:pt x="0" y="0"/>
                </a:moveTo>
                <a:lnTo>
                  <a:pt x="2244072" y="0"/>
                </a:lnTo>
                <a:lnTo>
                  <a:pt x="2244072" y="1513728"/>
                </a:lnTo>
                <a:lnTo>
                  <a:pt x="0" y="1513728"/>
                </a:lnTo>
                <a:lnTo>
                  <a:pt x="0" y="0"/>
                </a:lnTo>
                <a:close/>
              </a:path>
            </a:pathLst>
          </a:custGeom>
          <a:blipFill>
            <a:blip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TextBox 60">
            <a:extLst>
              <a:ext uri="{FF2B5EF4-FFF2-40B4-BE49-F238E27FC236}">
                <a16:creationId xmlns:a16="http://schemas.microsoft.com/office/drawing/2014/main" id="{01FECEF1-81AB-5A30-B619-32C0F364C395}"/>
              </a:ext>
            </a:extLst>
          </p:cNvPr>
          <p:cNvSpPr txBox="1"/>
          <p:nvPr/>
        </p:nvSpPr>
        <p:spPr>
          <a:xfrm>
            <a:off x="829056" y="999745"/>
            <a:ext cx="11348545" cy="24622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2006E"/>
                </a:solidFill>
                <a:effectLst/>
                <a:uLnTx/>
                <a:uFillTx/>
                <a:latin typeface="Uni Sans"/>
                <a:ea typeface="+mn-ea"/>
                <a:cs typeface="+mn-cs"/>
              </a:rPr>
              <a:t>Training completion is required to gain access to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32006E"/>
                </a:solidFill>
                <a:effectLst/>
                <a:uLnTx/>
                <a:uFillTx/>
                <a:latin typeface="Uni Sans"/>
                <a:ea typeface="+mn-ea"/>
                <a:cs typeface="+mn-cs"/>
              </a:rPr>
              <a:t>FM:Systems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2006E"/>
                </a:solidFill>
                <a:effectLst/>
                <a:uLnTx/>
                <a:uFillTx/>
                <a:latin typeface="Uni Sans"/>
                <a:ea typeface="+mn-ea"/>
                <a:cs typeface="+mn-cs"/>
              </a:rPr>
              <a:t> (FMS).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184DFEA0-8606-F9C5-5BF5-D3412DA0A04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438151" y="2095499"/>
            <a:ext cx="7172324" cy="3218721"/>
          </a:xfrm>
          <a:prstGeom prst="roundRect">
            <a:avLst/>
          </a:prstGeom>
          <a:solidFill>
            <a:schemeClr val="bg2">
              <a:lumMod val="90000"/>
            </a:schemeClr>
          </a:solidFill>
          <a:ln w="19050"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60963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RAINING IS MANDATORY</a:t>
            </a:r>
          </a:p>
        </p:txBody>
      </p:sp>
      <p:sp>
        <p:nvSpPr>
          <p:cNvPr id="3" name="Text Placeholder 17">
            <a:extLst>
              <a:ext uri="{FF2B5EF4-FFF2-40B4-BE49-F238E27FC236}">
                <a16:creationId xmlns:a16="http://schemas.microsoft.com/office/drawing/2014/main" id="{42CAF802-8821-8A0B-534F-C809F15B2C0F}"/>
              </a:ext>
            </a:extLst>
          </p:cNvPr>
          <p:cNvSpPr txBox="1">
            <a:spLocks/>
          </p:cNvSpPr>
          <p:nvPr/>
        </p:nvSpPr>
        <p:spPr>
          <a:xfrm>
            <a:off x="758595" y="2804731"/>
            <a:ext cx="6680892" cy="248855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 algn="l">
              <a:spcBef>
                <a:spcPts val="10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b="1" u="sng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o Exceptions</a:t>
            </a:r>
            <a:r>
              <a:rPr lang="en-US" sz="16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: Access will be provisioned after users pass all required training modules</a:t>
            </a:r>
          </a:p>
          <a:p>
            <a:pPr marL="285750" indent="-285750" algn="l">
              <a:spcBef>
                <a:spcPts val="10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b="1" u="sng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Why this Matters</a:t>
            </a:r>
            <a:r>
              <a:rPr lang="en-US" sz="16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: </a:t>
            </a:r>
            <a:r>
              <a:rPr lang="en-US" sz="1600" dirty="0" err="1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M:Systems</a:t>
            </a:r>
            <a:r>
              <a:rPr lang="en-US" sz="16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introduces new technology and redesigned workflows.  Proper training is essential to ensure data integrity.</a:t>
            </a:r>
          </a:p>
          <a:p>
            <a:pPr marL="285750" indent="-285750" algn="l">
              <a:spcBef>
                <a:spcPts val="10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b="1" u="sng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raining Format</a:t>
            </a:r>
            <a:r>
              <a:rPr lang="en-US" sz="16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: Microlearning videos with text alternatives</a:t>
            </a:r>
          </a:p>
          <a:p>
            <a:pPr marL="285750" indent="-285750" algn="l">
              <a:spcBef>
                <a:spcPts val="10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b="1" u="sng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raining Location</a:t>
            </a:r>
            <a:r>
              <a:rPr lang="en-US" sz="16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: </a:t>
            </a:r>
            <a:r>
              <a:rPr lang="en-US" sz="16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uw.bridgeapp.com/learner/courses</a:t>
            </a:r>
            <a:r>
              <a:rPr lang="en-US" sz="16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5DE2C3A1-49BE-89ED-7D4A-231C3630959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7759930" y="2095499"/>
            <a:ext cx="4110857" cy="3197787"/>
          </a:xfrm>
          <a:prstGeom prst="roundRect">
            <a:avLst/>
          </a:prstGeom>
          <a:solidFill>
            <a:srgbClr val="32006E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DDITIONAL RESOURCES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5006D0AF-D310-5C1F-1BA0-BEC5AE8B76E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81208448"/>
              </p:ext>
            </p:extLst>
          </p:nvPr>
        </p:nvGraphicFramePr>
        <p:xfrm>
          <a:off x="8025414" y="2619644"/>
          <a:ext cx="3650919" cy="29718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50919">
                  <a:extLst>
                    <a:ext uri="{9D8B030D-6E8A-4147-A177-3AD203B41FA5}">
                      <a16:colId xmlns:a16="http://schemas.microsoft.com/office/drawing/2014/main" val="1098793455"/>
                    </a:ext>
                  </a:extLst>
                </a:gridCol>
              </a:tblGrid>
              <a:tr h="2673641"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buFont typeface="Arial" panose="020B0604020202020204" pitchFamily="34" charset="0"/>
                        <a:buNone/>
                      </a:pPr>
                      <a:endParaRPr lang="en-US" sz="1100" b="0" kern="1200" dirty="0">
                        <a:solidFill>
                          <a:schemeClr val="bg1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marL="0" indent="0" algn="l" defTabSz="914400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lang="en-US" sz="1600" b="0" kern="1200" dirty="0">
                          <a:solidFill>
                            <a:schemeClr val="bg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The following are available on the Space Manager </a:t>
                      </a:r>
                      <a:r>
                        <a:rPr lang="en-US" sz="1600" b="0" kern="1200" dirty="0">
                          <a:solidFill>
                            <a:schemeClr val="bg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hlinkClick r:id="rId5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service page</a:t>
                      </a:r>
                      <a:r>
                        <a:rPr lang="en-US" sz="1600" b="0" kern="1200" dirty="0">
                          <a:solidFill>
                            <a:schemeClr val="bg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:</a:t>
                      </a:r>
                    </a:p>
                    <a:p>
                      <a:pPr marL="0" indent="0" algn="l" defTabSz="9144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en-US" sz="1600" b="0" kern="1200" dirty="0">
                        <a:solidFill>
                          <a:schemeClr val="bg1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marL="285750" indent="-285750" algn="l" defTabSz="914400" rtl="0" eaLnBrk="1" latinLnBrk="0" hangingPunct="1">
                        <a:spcBef>
                          <a:spcPts val="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600" b="0" i="0" kern="1200" dirty="0">
                          <a:solidFill>
                            <a:schemeClr val="bg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Link to </a:t>
                      </a:r>
                      <a:r>
                        <a:rPr lang="en-US" sz="1600" b="0" i="0" kern="1200" dirty="0" err="1">
                          <a:solidFill>
                            <a:schemeClr val="bg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FM:Systems</a:t>
                      </a:r>
                      <a:endParaRPr lang="en-US" sz="1600" b="0" i="0" kern="1200" dirty="0">
                        <a:solidFill>
                          <a:schemeClr val="bg1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marL="285750" indent="-285750" algn="l" defTabSz="914400" rtl="0" eaLnBrk="1" latinLnBrk="0" hangingPunct="1">
                        <a:spcBef>
                          <a:spcPts val="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600" b="0" i="0" kern="1200" dirty="0">
                          <a:solidFill>
                            <a:schemeClr val="bg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Room Type Definitions</a:t>
                      </a:r>
                    </a:p>
                    <a:p>
                      <a:pPr marL="285750" indent="-285750" algn="l" defTabSz="914400" rtl="0" eaLnBrk="1" latinLnBrk="0" hangingPunct="1">
                        <a:spcBef>
                          <a:spcPts val="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600" b="0" i="0" kern="1200" dirty="0">
                          <a:solidFill>
                            <a:schemeClr val="bg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Support (job aids, contacts, etc.)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600" b="0" i="0" kern="1200" dirty="0">
                          <a:solidFill>
                            <a:schemeClr val="bg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Training Videos*</a:t>
                      </a:r>
                    </a:p>
                    <a:p>
                      <a:pPr marL="0" indent="0" algn="l" defTabSz="914400" rtl="0" eaLnBrk="1" latinLnBrk="0" hangingPunct="1"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endParaRPr lang="en-US" sz="1600" b="0" i="0" kern="1200" dirty="0">
                        <a:solidFill>
                          <a:schemeClr val="bg1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marL="0" indent="0" algn="l" defTabSz="914400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lang="en-US" sz="1100" b="0" i="0" kern="1200" dirty="0">
                          <a:solidFill>
                            <a:schemeClr val="bg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*Not a replacement for required training on Bridge</a:t>
                      </a:r>
                      <a:endParaRPr lang="en-US" sz="1100" b="0" i="1" kern="1200" dirty="0">
                        <a:solidFill>
                          <a:schemeClr val="bg1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marL="285750" indent="-2857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endParaRPr lang="en-US" sz="1600" b="1" kern="1200" dirty="0">
                        <a:solidFill>
                          <a:schemeClr val="bg1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0960" marR="60960" marT="30480" marB="30480"/>
                </a:tc>
                <a:extLst>
                  <a:ext uri="{0D108BD9-81ED-4DB2-BD59-A6C34878D82A}">
                    <a16:rowId xmlns:a16="http://schemas.microsoft.com/office/drawing/2014/main" val="28808020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254796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30C3C99-E396-F9A5-4C82-F465A44412F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Box 2">
            <a:extLst>
              <a:ext uri="{FF2B5EF4-FFF2-40B4-BE49-F238E27FC236}">
                <a16:creationId xmlns:a16="http://schemas.microsoft.com/office/drawing/2014/main" id="{25DFD9C5-B2E3-6315-99B8-C5470FE91CB7}"/>
              </a:ext>
            </a:extLst>
          </p:cNvPr>
          <p:cNvSpPr txBox="1"/>
          <p:nvPr/>
        </p:nvSpPr>
        <p:spPr>
          <a:xfrm>
            <a:off x="758595" y="380923"/>
            <a:ext cx="9466419" cy="49064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spcBef>
                <a:spcPts val="1000"/>
              </a:spcBef>
              <a:spcAft>
                <a:spcPts val="600"/>
              </a:spcAft>
            </a:pPr>
            <a:r>
              <a:rPr lang="en-US" sz="3200" dirty="0">
                <a:solidFill>
                  <a:srgbClr val="4B2E8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raining Resources &amp; Access Requirements</a:t>
            </a:r>
          </a:p>
        </p:txBody>
      </p:sp>
      <p:sp>
        <p:nvSpPr>
          <p:cNvPr id="2" name="TextBox 60">
            <a:extLst>
              <a:ext uri="{FF2B5EF4-FFF2-40B4-BE49-F238E27FC236}">
                <a16:creationId xmlns:a16="http://schemas.microsoft.com/office/drawing/2014/main" id="{8519A955-00E1-CF52-3A6C-7B04D9147643}"/>
              </a:ext>
            </a:extLst>
          </p:cNvPr>
          <p:cNvSpPr txBox="1"/>
          <p:nvPr/>
        </p:nvSpPr>
        <p:spPr>
          <a:xfrm>
            <a:off x="829057" y="999745"/>
            <a:ext cx="8245716" cy="24622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defTabSz="609630"/>
            <a:r>
              <a:rPr lang="en-US" sz="1600" dirty="0">
                <a:solidFill>
                  <a:srgbClr val="32006E"/>
                </a:solidFill>
                <a:latin typeface="Uni Sans"/>
              </a:rPr>
              <a:t>Training modules are tailored to your role.</a:t>
            </a: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8551897D-DD72-8D85-E40A-FBEE5864DF29}"/>
              </a:ext>
            </a:extLst>
          </p:cNvPr>
          <p:cNvSpPr/>
          <p:nvPr/>
        </p:nvSpPr>
        <p:spPr>
          <a:xfrm>
            <a:off x="447675" y="1588866"/>
            <a:ext cx="11277600" cy="4948727"/>
          </a:xfrm>
          <a:prstGeom prst="roundRect">
            <a:avLst/>
          </a:prstGeom>
          <a:solidFill>
            <a:schemeClr val="bg2">
              <a:lumMod val="90000"/>
            </a:schemeClr>
          </a:solidFill>
          <a:ln w="19050"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609630" fontAlgn="ctr">
              <a:defRPr/>
            </a:pPr>
            <a:r>
              <a:rPr lang="en-US" sz="2400" b="1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RAINING CURRICULUM</a:t>
            </a:r>
          </a:p>
          <a:p>
            <a:pPr lvl="0" algn="ctr" defTabSz="609630" fontAlgn="ctr">
              <a:defRPr/>
            </a:pPr>
            <a:endParaRPr lang="en-US" sz="1400" u="sng" dirty="0">
              <a:solidFill>
                <a:srgbClr val="32006E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" name="Freeform 3">
            <a:extLst>
              <a:ext uri="{FF2B5EF4-FFF2-40B4-BE49-F238E27FC236}">
                <a16:creationId xmlns:a16="http://schemas.microsoft.com/office/drawing/2014/main" id="{D7E94BDC-19EA-3CCE-6CEE-B07AD63401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0695952" y="310882"/>
            <a:ext cx="1496048" cy="1009153"/>
          </a:xfrm>
          <a:custGeom>
            <a:avLst/>
            <a:gdLst/>
            <a:ahLst/>
            <a:cxnLst/>
            <a:rect l="l" t="t" r="r" b="b"/>
            <a:pathLst>
              <a:path w="2244072" h="1513729">
                <a:moveTo>
                  <a:pt x="0" y="0"/>
                </a:moveTo>
                <a:lnTo>
                  <a:pt x="2244072" y="0"/>
                </a:lnTo>
                <a:lnTo>
                  <a:pt x="2244072" y="1513728"/>
                </a:lnTo>
                <a:lnTo>
                  <a:pt x="0" y="1513728"/>
                </a:lnTo>
                <a:lnTo>
                  <a:pt x="0" y="0"/>
                </a:lnTo>
                <a:close/>
              </a:path>
            </a:pathLst>
          </a:custGeom>
          <a:blipFill>
            <a:blip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609630"/>
            <a:endParaRPr lang="en-US" sz="1200">
              <a:solidFill>
                <a:prstClr val="black"/>
              </a:solidFill>
              <a:latin typeface="Calibri"/>
            </a:endParaRPr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EE5747A8-1C28-98A6-11CE-EBC6CEAFB73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25616327"/>
              </p:ext>
            </p:extLst>
          </p:nvPr>
        </p:nvGraphicFramePr>
        <p:xfrm>
          <a:off x="1864110" y="2307576"/>
          <a:ext cx="8463780" cy="401743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821260">
                  <a:extLst>
                    <a:ext uri="{9D8B030D-6E8A-4147-A177-3AD203B41FA5}">
                      <a16:colId xmlns:a16="http://schemas.microsoft.com/office/drawing/2014/main" val="1825928934"/>
                    </a:ext>
                  </a:extLst>
                </a:gridCol>
                <a:gridCol w="2821260">
                  <a:extLst>
                    <a:ext uri="{9D8B030D-6E8A-4147-A177-3AD203B41FA5}">
                      <a16:colId xmlns:a16="http://schemas.microsoft.com/office/drawing/2014/main" val="4240622418"/>
                    </a:ext>
                  </a:extLst>
                </a:gridCol>
                <a:gridCol w="2821260">
                  <a:extLst>
                    <a:ext uri="{9D8B030D-6E8A-4147-A177-3AD203B41FA5}">
                      <a16:colId xmlns:a16="http://schemas.microsoft.com/office/drawing/2014/main" val="1586768476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US" sz="1400" b="1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Module</a:t>
                      </a:r>
                      <a:endParaRPr lang="en-US" sz="1400" b="0">
                        <a:solidFill>
                          <a:schemeClr val="tx1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50800" marR="33867" marT="33867" marB="2963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US" sz="1400" b="1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Assigned Roles</a:t>
                      </a:r>
                      <a:endParaRPr lang="en-US" sz="1400" b="0">
                        <a:solidFill>
                          <a:schemeClr val="tx1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50800" marR="33867" marT="33867" marB="29633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US" sz="1400" b="1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Proficiency Level</a:t>
                      </a:r>
                    </a:p>
                  </a:txBody>
                  <a:tcPr marL="50800" marR="33867" marT="33867" marB="29633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1541014"/>
                  </a:ext>
                </a:extLst>
              </a:tr>
              <a:tr h="507153"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buNone/>
                      </a:pPr>
                      <a:r>
                        <a:rPr lang="en-US" sz="1100" b="0" i="1" kern="1200">
                          <a:solidFill>
                            <a:schemeClr val="tx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Module 1: Getting Started </a:t>
                      </a:r>
                    </a:p>
                  </a:txBody>
                  <a:tcPr marL="4233" marR="4233" marT="42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buNone/>
                      </a:pPr>
                      <a:r>
                        <a:rPr lang="en-US" sz="1100" b="0" kern="1200">
                          <a:solidFill>
                            <a:schemeClr val="tx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All Roles</a:t>
                      </a:r>
                    </a:p>
                  </a:txBody>
                  <a:tcPr marL="50800" marR="33867" marT="33867" marB="2963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buNone/>
                      </a:pPr>
                      <a:r>
                        <a:rPr lang="en-US" sz="1100" b="0" kern="1200">
                          <a:solidFill>
                            <a:schemeClr val="tx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Basic</a:t>
                      </a:r>
                    </a:p>
                  </a:txBody>
                  <a:tcPr marL="50800" marR="33867" marT="33867" marB="2963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052570"/>
                  </a:ext>
                </a:extLst>
              </a:tr>
              <a:tr h="507153"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buNone/>
                      </a:pPr>
                      <a:r>
                        <a:rPr lang="en-US" sz="1100" b="0" i="1" kern="1200">
                          <a:solidFill>
                            <a:schemeClr val="tx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Module 2: Viewing Space Data</a:t>
                      </a:r>
                    </a:p>
                  </a:txBody>
                  <a:tcPr marL="4233" marR="4233" marT="42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buNone/>
                      </a:pPr>
                      <a:r>
                        <a:rPr lang="en-US" sz="1100" b="0" kern="1200">
                          <a:solidFill>
                            <a:schemeClr val="tx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All Roles</a:t>
                      </a:r>
                    </a:p>
                  </a:txBody>
                  <a:tcPr marL="50800" marR="33867" marT="33867" marB="2963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buNone/>
                      </a:pPr>
                      <a:r>
                        <a:rPr lang="en-US" sz="1100" b="0" kern="1200" dirty="0">
                          <a:solidFill>
                            <a:schemeClr val="tx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Basic</a:t>
                      </a:r>
                    </a:p>
                  </a:txBody>
                  <a:tcPr marL="50800" marR="33867" marT="33867" marB="2963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1586045"/>
                  </a:ext>
                </a:extLst>
              </a:tr>
              <a:tr h="507153"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buNone/>
                      </a:pPr>
                      <a:r>
                        <a:rPr lang="en-US" sz="1100" b="0" i="1" kern="1200">
                          <a:solidFill>
                            <a:schemeClr val="tx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Module 3: Floorplan Interaction</a:t>
                      </a:r>
                    </a:p>
                  </a:txBody>
                  <a:tcPr marL="4233" marR="4233" marT="42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buNone/>
                      </a:pPr>
                      <a:r>
                        <a:rPr lang="en-US" sz="1100" b="0" kern="1200">
                          <a:solidFill>
                            <a:schemeClr val="tx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All Roles</a:t>
                      </a:r>
                    </a:p>
                  </a:txBody>
                  <a:tcPr marL="50800" marR="33867" marT="33867" marB="2963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buNone/>
                      </a:pPr>
                      <a:r>
                        <a:rPr lang="en-US" sz="1100" b="0" kern="1200" dirty="0">
                          <a:solidFill>
                            <a:schemeClr val="tx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Basic</a:t>
                      </a:r>
                    </a:p>
                  </a:txBody>
                  <a:tcPr marL="50800" marR="33867" marT="33867" marB="2963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02599329"/>
                  </a:ext>
                </a:extLst>
              </a:tr>
              <a:tr h="507153"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buNone/>
                      </a:pPr>
                      <a:r>
                        <a:rPr lang="en-US" sz="1100" b="0" i="1" kern="1200">
                          <a:solidFill>
                            <a:schemeClr val="tx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Module 4:  Reporting &amp; Analysis</a:t>
                      </a:r>
                    </a:p>
                  </a:txBody>
                  <a:tcPr marL="4233" marR="4233" marT="42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buNone/>
                      </a:pPr>
                      <a:r>
                        <a:rPr lang="en-US" sz="1100" b="0" kern="1200">
                          <a:solidFill>
                            <a:schemeClr val="tx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All Roles</a:t>
                      </a:r>
                    </a:p>
                  </a:txBody>
                  <a:tcPr marL="50800" marR="33867" marT="33867" marB="2963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buNone/>
                      </a:pPr>
                      <a:r>
                        <a:rPr lang="en-US" sz="1100" b="0" kern="1200" dirty="0">
                          <a:solidFill>
                            <a:schemeClr val="tx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Basic / Intermediate / Advanced</a:t>
                      </a:r>
                    </a:p>
                  </a:txBody>
                  <a:tcPr marL="50800" marR="33867" marT="33867" marB="2963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1096896"/>
                  </a:ext>
                </a:extLst>
              </a:tr>
              <a:tr h="507153"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buNone/>
                      </a:pPr>
                      <a:r>
                        <a:rPr lang="en-US" sz="1100" b="0" i="1" kern="1200">
                          <a:solidFill>
                            <a:schemeClr val="tx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Module 5: Editing Space Information</a:t>
                      </a:r>
                    </a:p>
                  </a:txBody>
                  <a:tcPr marL="4233" marR="4233" marT="42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buNone/>
                      </a:pPr>
                      <a:r>
                        <a:rPr lang="en-US" sz="1100" b="0" kern="1200">
                          <a:solidFill>
                            <a:schemeClr val="tx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Space Admin, Dept Admin</a:t>
                      </a:r>
                    </a:p>
                  </a:txBody>
                  <a:tcPr marL="50800" marR="33867" marT="33867" marB="2963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buNone/>
                      </a:pPr>
                      <a:r>
                        <a:rPr lang="en-US" sz="1100" b="0" kern="1200">
                          <a:solidFill>
                            <a:schemeClr val="tx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Intermediate / Advanced</a:t>
                      </a:r>
                    </a:p>
                  </a:txBody>
                  <a:tcPr marL="50800" marR="33867" marT="33867" marB="2963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80791760"/>
                  </a:ext>
                </a:extLst>
              </a:tr>
              <a:tr h="507153"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buNone/>
                      </a:pPr>
                      <a:r>
                        <a:rPr lang="en-US" sz="1100" b="0" i="1" kern="1200">
                          <a:solidFill>
                            <a:schemeClr val="tx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Module 6: Research Space Tracking </a:t>
                      </a:r>
                    </a:p>
                  </a:txBody>
                  <a:tcPr marL="4233" marR="4233" marT="42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buNone/>
                      </a:pPr>
                      <a:r>
                        <a:rPr lang="en-US" sz="1100" b="0" kern="1200">
                          <a:solidFill>
                            <a:schemeClr val="tx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Space Admin, Dept Admin </a:t>
                      </a:r>
                    </a:p>
                  </a:txBody>
                  <a:tcPr marL="50800" marR="33867" marT="33867" marB="2963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buNone/>
                      </a:pPr>
                      <a:r>
                        <a:rPr lang="en-US" sz="1100" b="0" kern="1200">
                          <a:solidFill>
                            <a:schemeClr val="tx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Intermediate / Advanced</a:t>
                      </a:r>
                    </a:p>
                  </a:txBody>
                  <a:tcPr marL="50800" marR="33867" marT="33867" marB="2963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939574"/>
                  </a:ext>
                </a:extLst>
              </a:tr>
              <a:tr h="507153">
                <a:tc gridSpan="3">
                  <a:txBody>
                    <a:bodyPr/>
                    <a:lstStyle/>
                    <a:p>
                      <a:pPr marL="0" indent="0" defTabSz="609630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1" u="sng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Definitions</a:t>
                      </a:r>
                    </a:p>
                    <a:p>
                      <a:pPr marL="174625" indent="-174625" defTabSz="609630"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 b="1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Basic</a:t>
                      </a:r>
                      <a:r>
                        <a:rPr lang="en-US" sz="1100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 = </a:t>
                      </a:r>
                      <a:r>
                        <a:rPr lang="en-US" sz="1100" i="1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iew-only tasks </a:t>
                      </a:r>
                      <a:r>
                        <a:rPr lang="en-US" sz="1100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e.g., navigating, searching, viewing records, interpreting floorplans) and </a:t>
                      </a:r>
                      <a:r>
                        <a:rPr lang="en-US" sz="1100" i="1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some roles may view reports.</a:t>
                      </a:r>
                      <a:endParaRPr lang="en-US" sz="1100" dirty="0"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marL="190510" indent="-190510" defTabSz="609630"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 b="1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Intermediate / Advanced</a:t>
                      </a:r>
                      <a:r>
                        <a:rPr lang="en-US" sz="1100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 = </a:t>
                      </a:r>
                      <a:r>
                        <a:rPr lang="en-US" sz="1100" i="1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iew + Edit + Reporting</a:t>
                      </a:r>
                      <a:r>
                        <a:rPr lang="en-US" sz="1100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(e.g., editing space data, managing allocations, running reports)</a:t>
                      </a:r>
                    </a:p>
                  </a:txBody>
                  <a:tcPr marL="4233" marR="4233" marT="42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buNone/>
                      </a:pPr>
                      <a:endParaRPr lang="en-US" sz="1100" b="0" kern="1200">
                        <a:solidFill>
                          <a:schemeClr val="tx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50800" marR="33867" marT="33867" marB="2963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buNone/>
                      </a:pPr>
                      <a:endParaRPr lang="en-US" sz="1100" b="0" kern="1200">
                        <a:solidFill>
                          <a:schemeClr val="tx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50800" marR="33867" marT="33867" marB="2963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1667936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C2721BB7-66CC-B7EE-ADD0-0022FEF613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 rot="16200000">
            <a:off x="13023" y="3462658"/>
            <a:ext cx="184164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i="0" dirty="0">
                <a:solidFill>
                  <a:srgbClr val="3D3D3D"/>
                </a:solidFill>
                <a:effectLst/>
                <a:latin typeface="Open Sans" panose="020B0606030504020204" pitchFamily="34" charset="0"/>
              </a:rPr>
              <a:t>Getting Started</a:t>
            </a:r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14D3FD0-61F6-C74F-A4DF-6E658915B2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 rot="16200000">
            <a:off x="115764" y="4926073"/>
            <a:ext cx="163616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b="1" i="0" dirty="0">
                <a:solidFill>
                  <a:srgbClr val="3D3D3D"/>
                </a:solidFill>
                <a:effectLst/>
                <a:latin typeface="Open Sans" panose="020B0606030504020204" pitchFamily="34" charset="0"/>
              </a:rPr>
              <a:t>Managing Space Data</a:t>
            </a:r>
            <a:endParaRPr lang="en-US" dirty="0"/>
          </a:p>
        </p:txBody>
      </p:sp>
      <p:sp>
        <p:nvSpPr>
          <p:cNvPr id="9" name="Left Brace 8">
            <a:extLst>
              <a:ext uri="{FF2B5EF4-FFF2-40B4-BE49-F238E27FC236}">
                <a16:creationId xmlns:a16="http://schemas.microsoft.com/office/drawing/2014/main" id="{C901B5E5-9BC2-B386-305B-036DFB0F65F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210439" y="2726502"/>
            <a:ext cx="577264" cy="1927691"/>
          </a:xfrm>
          <a:prstGeom prst="leftBrace">
            <a:avLst/>
          </a:prstGeom>
          <a:noFill/>
          <a:ln w="38100">
            <a:solidFill>
              <a:srgbClr val="32006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Left Brace 10">
            <a:extLst>
              <a:ext uri="{FF2B5EF4-FFF2-40B4-BE49-F238E27FC236}">
                <a16:creationId xmlns:a16="http://schemas.microsoft.com/office/drawing/2014/main" id="{6579BE2F-03D2-1370-6D26-2FE3F8F7542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208081" y="4792690"/>
            <a:ext cx="577264" cy="847822"/>
          </a:xfrm>
          <a:prstGeom prst="leftBrace">
            <a:avLst/>
          </a:prstGeom>
          <a:noFill/>
          <a:ln w="38100">
            <a:solidFill>
              <a:srgbClr val="32006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609889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Custom Design">
  <a:themeElements>
    <a:clrScheme name="Custom 5">
      <a:dk1>
        <a:srgbClr val="33006F"/>
      </a:dk1>
      <a:lt1>
        <a:srgbClr val="E8D3A2"/>
      </a:lt1>
      <a:dk2>
        <a:srgbClr val="33006F"/>
      </a:dk2>
      <a:lt2>
        <a:srgbClr val="FFFFFF"/>
      </a:lt2>
      <a:accent1>
        <a:srgbClr val="33006F"/>
      </a:accent1>
      <a:accent2>
        <a:srgbClr val="E8D3A2"/>
      </a:accent2>
      <a:accent3>
        <a:srgbClr val="FFFFFF"/>
      </a:accent3>
      <a:accent4>
        <a:srgbClr val="B2B2B2"/>
      </a:accent4>
      <a:accent5>
        <a:srgbClr val="26005C"/>
      </a:accent5>
      <a:accent6>
        <a:srgbClr val="917B4C"/>
      </a:accent6>
      <a:hlink>
        <a:srgbClr val="26005C"/>
      </a:hlink>
      <a:folHlink>
        <a:srgbClr val="33006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2_Custom Design">
  <a:themeElements>
    <a:clrScheme name="4b2e83 1">
      <a:dk1>
        <a:srgbClr val="4B2E83"/>
      </a:dk1>
      <a:lt1>
        <a:srgbClr val="E8D3A2"/>
      </a:lt1>
      <a:dk2>
        <a:srgbClr val="4B2E83"/>
      </a:dk2>
      <a:lt2>
        <a:srgbClr val="FFFFFF"/>
      </a:lt2>
      <a:accent1>
        <a:srgbClr val="4B2E83"/>
      </a:accent1>
      <a:accent2>
        <a:srgbClr val="E8D3A2"/>
      </a:accent2>
      <a:accent3>
        <a:srgbClr val="FFFFFF"/>
      </a:accent3>
      <a:accent4>
        <a:srgbClr val="B2B2B2"/>
      </a:accent4>
      <a:accent5>
        <a:srgbClr val="26005C"/>
      </a:accent5>
      <a:accent6>
        <a:srgbClr val="917B4C"/>
      </a:accent6>
      <a:hlink>
        <a:srgbClr val="26005C"/>
      </a:hlink>
      <a:folHlink>
        <a:srgbClr val="33006F"/>
      </a:folHlink>
    </a:clrScheme>
    <a:fontScheme name="UW Brand-Open Sans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a6a37a70-c3b3-4202-b731-46f1cce48aac">
      <Terms xmlns="http://schemas.microsoft.com/office/infopath/2007/PartnerControls"/>
    </lcf76f155ced4ddcb4097134ff3c332f>
    <TaxCatchAll xmlns="de561f96-94c5-4b42-ba29-f1fce2391379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4AC43EF5031934F88FF6B892CFB19EC" ma:contentTypeVersion="12" ma:contentTypeDescription="Create a new document." ma:contentTypeScope="" ma:versionID="0269a32c8ec15bd25dfc85eaf6464e49">
  <xsd:schema xmlns:xsd="http://www.w3.org/2001/XMLSchema" xmlns:xs="http://www.w3.org/2001/XMLSchema" xmlns:p="http://schemas.microsoft.com/office/2006/metadata/properties" xmlns:ns2="a6a37a70-c3b3-4202-b731-46f1cce48aac" xmlns:ns3="de561f96-94c5-4b42-ba29-f1fce2391379" targetNamespace="http://schemas.microsoft.com/office/2006/metadata/properties" ma:root="true" ma:fieldsID="c151afa621e742e383dc5478b34d0023" ns2:_="" ns3:_="">
    <xsd:import namespace="a6a37a70-c3b3-4202-b731-46f1cce48aac"/>
    <xsd:import namespace="de561f96-94c5-4b42-ba29-f1fce239137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a37a70-c3b3-4202-b731-46f1cce48aa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7" nillable="true" ma:taxonomy="true" ma:internalName="lcf76f155ced4ddcb4097134ff3c332f" ma:taxonomyFieldName="MediaServiceImageTags" ma:displayName="Image Tags" ma:readOnly="false" ma:fieldId="{5cf76f15-5ced-4ddc-b409-7134ff3c332f}" ma:taxonomyMulti="true" ma:sspId="e20148b9-20a4-48a0-acba-ba52d68a37a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e561f96-94c5-4b42-ba29-f1fce2391379" elementFormDefault="qualified">
    <xsd:import namespace="http://schemas.microsoft.com/office/2006/documentManagement/types"/>
    <xsd:import namespace="http://schemas.microsoft.com/office/infopath/2007/PartnerControls"/>
    <xsd:element name="TaxCatchAll" ma:index="18" nillable="true" ma:displayName="Taxonomy Catch All Column" ma:hidden="true" ma:list="{52e6eea5-41e5-4be3-bf56-117762bd983b}" ma:internalName="TaxCatchAll" ma:showField="CatchAllData" ma:web="de561f96-94c5-4b42-ba29-f1fce239137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7DE272D-BF50-4CC9-8AAA-BD9C1B561884}">
  <ds:schemaRefs>
    <ds:schemaRef ds:uri="http://purl.org/dc/elements/1.1/"/>
    <ds:schemaRef ds:uri="http://schemas.microsoft.com/office/2006/documentManagement/types"/>
    <ds:schemaRef ds:uri="http://purl.org/dc/dcmitype/"/>
    <ds:schemaRef ds:uri="a6a37a70-c3b3-4202-b731-46f1cce48aac"/>
    <ds:schemaRef ds:uri="http://schemas.openxmlformats.org/package/2006/metadata/core-properties"/>
    <ds:schemaRef ds:uri="http://schemas.microsoft.com/office/2006/metadata/properties"/>
    <ds:schemaRef ds:uri="http://schemas.microsoft.com/office/infopath/2007/PartnerControls"/>
    <ds:schemaRef ds:uri="de561f96-94c5-4b42-ba29-f1fce2391379"/>
    <ds:schemaRef ds:uri="http://www.w3.org/XML/1998/namespace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3F18EE0F-15C4-46AB-B2C8-2C096081F60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B7AF42E-F81E-4697-94B8-D7326D679333}">
  <ds:schemaRefs>
    <ds:schemaRef ds:uri="a6a37a70-c3b3-4202-b731-46f1cce48aac"/>
    <ds:schemaRef ds:uri="de561f96-94c5-4b42-ba29-f1fce239137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Metadata/LabelInfo.xml><?xml version="1.0" encoding="utf-8"?>
<clbl:labelList xmlns:clbl="http://schemas.microsoft.com/office/2020/mipLabelMetadata">
  <clbl:label id="{d426f8eb-43e7-4c1b-b7a5-a0a324bdadda}" enabled="1" method="Privileged" siteId="{f6b6dd5b-f02f-441a-99a0-162ac5060bd2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12638</TotalTime>
  <Words>722</Words>
  <Application>Microsoft Office PowerPoint</Application>
  <PresentationFormat>Widescreen</PresentationFormat>
  <Paragraphs>175</Paragraphs>
  <Slides>11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25" baseType="lpstr">
      <vt:lpstr>Lucida Grande</vt:lpstr>
      <vt:lpstr>Aptos</vt:lpstr>
      <vt:lpstr>Arial</vt:lpstr>
      <vt:lpstr>Calibri</vt:lpstr>
      <vt:lpstr>Encode Sans Normal Black</vt:lpstr>
      <vt:lpstr>Garamond</vt:lpstr>
      <vt:lpstr>Open Sans</vt:lpstr>
      <vt:lpstr>Open Sans Light</vt:lpstr>
      <vt:lpstr>Uni Sans</vt:lpstr>
      <vt:lpstr>Uni Sans Regular</vt:lpstr>
      <vt:lpstr>1_Office Theme</vt:lpstr>
      <vt:lpstr>1_Custom Design</vt:lpstr>
      <vt:lpstr>2_Custom Design</vt:lpstr>
      <vt:lpstr>think-cell Slide</vt:lpstr>
      <vt:lpstr>InVision Replacement  Private Business Use (PBU) Training 2025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LaMonte McGraw</dc:creator>
  <cp:lastModifiedBy>Daniela Choto</cp:lastModifiedBy>
  <cp:revision>5</cp:revision>
  <dcterms:created xsi:type="dcterms:W3CDTF">2025-04-11T18:02:19Z</dcterms:created>
  <dcterms:modified xsi:type="dcterms:W3CDTF">2026-04-07T22:28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4AC43EF5031934F88FF6B892CFB19EC</vt:lpwstr>
  </property>
  <property fmtid="{D5CDD505-2E9C-101B-9397-08002B2CF9AE}" pid="3" name="MediaServiceImageTags">
    <vt:lpwstr/>
  </property>
</Properties>
</file>